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Lst>
  <p:notesMasterIdLst>
    <p:notesMasterId r:id="rId26"/>
  </p:notesMasterIdLst>
  <p:sldIdLst>
    <p:sldId id="256" r:id="rId3"/>
    <p:sldId id="379" r:id="rId4"/>
    <p:sldId id="319" r:id="rId5"/>
    <p:sldId id="383" r:id="rId6"/>
    <p:sldId id="384" r:id="rId7"/>
    <p:sldId id="386" r:id="rId8"/>
    <p:sldId id="387" r:id="rId9"/>
    <p:sldId id="392" r:id="rId10"/>
    <p:sldId id="385" r:id="rId11"/>
    <p:sldId id="393" r:id="rId12"/>
    <p:sldId id="388" r:id="rId13"/>
    <p:sldId id="389" r:id="rId14"/>
    <p:sldId id="394" r:id="rId15"/>
    <p:sldId id="396" r:id="rId16"/>
    <p:sldId id="395" r:id="rId17"/>
    <p:sldId id="397" r:id="rId18"/>
    <p:sldId id="398" r:id="rId19"/>
    <p:sldId id="399" r:id="rId20"/>
    <p:sldId id="400" r:id="rId21"/>
    <p:sldId id="401" r:id="rId22"/>
    <p:sldId id="402" r:id="rId23"/>
    <p:sldId id="403" r:id="rId24"/>
    <p:sldId id="336"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F1FD"/>
    <a:srgbClr val="03A5B8"/>
    <a:srgbClr val="BEF8FE"/>
    <a:srgbClr val="E4E4E4"/>
    <a:srgbClr val="FF9B9B"/>
    <a:srgbClr val="78660A"/>
    <a:srgbClr val="146E14"/>
    <a:srgbClr val="6D7885"/>
    <a:srgbClr val="AB378A"/>
    <a:srgbClr val="FFC9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A535C2-7663-0C46-BC47-07CDF2FA20C8}" v="4" dt="2025-03-17T08:10:56.1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1848" autoAdjust="0"/>
    <p:restoredTop sz="94650"/>
  </p:normalViewPr>
  <p:slideViewPr>
    <p:cSldViewPr snapToGrid="0">
      <p:cViewPr varScale="1">
        <p:scale>
          <a:sx n="59" d="100"/>
          <a:sy n="59" d="100"/>
        </p:scale>
        <p:origin x="216" y="15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ralk F" userId="0ce5ef93c6cc7083" providerId="LiveId" clId="{B9A535C2-7663-0C46-BC47-07CDF2FA20C8}"/>
    <pc:docChg chg="undo custSel modSld">
      <pc:chgData name="Dralk F" userId="0ce5ef93c6cc7083" providerId="LiveId" clId="{B9A535C2-7663-0C46-BC47-07CDF2FA20C8}" dt="2025-03-17T08:10:56.999" v="35" actId="14100"/>
      <pc:docMkLst>
        <pc:docMk/>
      </pc:docMkLst>
      <pc:sldChg chg="modSp mod">
        <pc:chgData name="Dralk F" userId="0ce5ef93c6cc7083" providerId="LiveId" clId="{B9A535C2-7663-0C46-BC47-07CDF2FA20C8}" dt="2025-03-17T07:27:11.341" v="5" actId="14734"/>
        <pc:sldMkLst>
          <pc:docMk/>
          <pc:sldMk cId="1630376702" sldId="385"/>
        </pc:sldMkLst>
        <pc:graphicFrameChg chg="modGraphic">
          <ac:chgData name="Dralk F" userId="0ce5ef93c6cc7083" providerId="LiveId" clId="{B9A535C2-7663-0C46-BC47-07CDF2FA20C8}" dt="2025-03-17T07:27:11.341" v="5" actId="14734"/>
          <ac:graphicFrameMkLst>
            <pc:docMk/>
            <pc:sldMk cId="1630376702" sldId="385"/>
            <ac:graphicFrameMk id="4" creationId="{00000000-0000-0000-0000-000000000000}"/>
          </ac:graphicFrameMkLst>
        </pc:graphicFrameChg>
      </pc:sldChg>
      <pc:sldChg chg="modSp mod">
        <pc:chgData name="Dralk F" userId="0ce5ef93c6cc7083" providerId="LiveId" clId="{B9A535C2-7663-0C46-BC47-07CDF2FA20C8}" dt="2025-03-17T07:19:25.804" v="1" actId="21"/>
        <pc:sldMkLst>
          <pc:docMk/>
          <pc:sldMk cId="3072137771" sldId="393"/>
        </pc:sldMkLst>
        <pc:graphicFrameChg chg="modGraphic">
          <ac:chgData name="Dralk F" userId="0ce5ef93c6cc7083" providerId="LiveId" clId="{B9A535C2-7663-0C46-BC47-07CDF2FA20C8}" dt="2025-03-17T07:19:25.804" v="1" actId="21"/>
          <ac:graphicFrameMkLst>
            <pc:docMk/>
            <pc:sldMk cId="3072137771" sldId="393"/>
            <ac:graphicFrameMk id="4" creationId="{00000000-0000-0000-0000-000000000000}"/>
          </ac:graphicFrameMkLst>
        </pc:graphicFrameChg>
      </pc:sldChg>
      <pc:sldChg chg="addSp delSp modSp mod">
        <pc:chgData name="Dralk F" userId="0ce5ef93c6cc7083" providerId="LiveId" clId="{B9A535C2-7663-0C46-BC47-07CDF2FA20C8}" dt="2025-03-17T08:10:56.999" v="35" actId="14100"/>
        <pc:sldMkLst>
          <pc:docMk/>
          <pc:sldMk cId="1335667211" sldId="401"/>
        </pc:sldMkLst>
        <pc:picChg chg="add del mod">
          <ac:chgData name="Dralk F" userId="0ce5ef93c6cc7083" providerId="LiveId" clId="{B9A535C2-7663-0C46-BC47-07CDF2FA20C8}" dt="2025-03-17T08:10:56.999" v="35" actId="14100"/>
          <ac:picMkLst>
            <pc:docMk/>
            <pc:sldMk cId="1335667211" sldId="401"/>
            <ac:picMk id="3" creationId="{00000000-0000-0000-0000-000000000000}"/>
          </ac:picMkLst>
        </pc:picChg>
      </pc:sldChg>
      <pc:sldChg chg="addSp delSp modSp mod">
        <pc:chgData name="Dralk F" userId="0ce5ef93c6cc7083" providerId="LiveId" clId="{B9A535C2-7663-0C46-BC47-07CDF2FA20C8}" dt="2025-03-17T08:10:56.081" v="25" actId="1076"/>
        <pc:sldMkLst>
          <pc:docMk/>
          <pc:sldMk cId="2585534982" sldId="402"/>
        </pc:sldMkLst>
        <pc:picChg chg="add del mod">
          <ac:chgData name="Dralk F" userId="0ce5ef93c6cc7083" providerId="LiveId" clId="{B9A535C2-7663-0C46-BC47-07CDF2FA20C8}" dt="2025-03-17T08:10:56.081" v="25" actId="1076"/>
          <ac:picMkLst>
            <pc:docMk/>
            <pc:sldMk cId="2585534982" sldId="402"/>
            <ac:picMk id="4" creationId="{E5B8439E-2D94-B9AE-ABAF-18D333B41276}"/>
          </ac:picMkLst>
        </pc:picChg>
      </pc:sldChg>
      <pc:sldChg chg="addSp delSp modSp mod">
        <pc:chgData name="Dralk F" userId="0ce5ef93c6cc7083" providerId="LiveId" clId="{B9A535C2-7663-0C46-BC47-07CDF2FA20C8}" dt="2025-03-17T08:10:55.811" v="23" actId="14100"/>
        <pc:sldMkLst>
          <pc:docMk/>
          <pc:sldMk cId="1041258890" sldId="403"/>
        </pc:sldMkLst>
        <pc:picChg chg="add del mod">
          <ac:chgData name="Dralk F" userId="0ce5ef93c6cc7083" providerId="LiveId" clId="{B9A535C2-7663-0C46-BC47-07CDF2FA20C8}" dt="2025-03-17T08:10:55.811" v="23" actId="14100"/>
          <ac:picMkLst>
            <pc:docMk/>
            <pc:sldMk cId="1041258890" sldId="403"/>
            <ac:picMk id="3" creationId="{CD300CA2-A504-D98A-9229-EFE38BB8B50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9F8EF0-73C8-7343-8E11-53600A24B57E}" type="datetimeFigureOut">
              <a:rPr lang="en-US" smtClean="0"/>
              <a:t>3/17/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AFF00F-707B-EF40-9119-FE2C2F517A5A}" type="slidenum">
              <a:rPr lang="en-US" smtClean="0"/>
              <a:t>‹#›</a:t>
            </a:fld>
            <a:endParaRPr lang="en-US"/>
          </a:p>
        </p:txBody>
      </p:sp>
    </p:spTree>
    <p:extLst>
      <p:ext uri="{BB962C8B-B14F-4D97-AF65-F5344CB8AC3E}">
        <p14:creationId xmlns:p14="http://schemas.microsoft.com/office/powerpoint/2010/main" val="359157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a:solidFill>
                  <a:schemeClr val="bg1"/>
                </a:solidFill>
                <a:highlight>
                  <a:srgbClr val="FFFF00"/>
                </a:highlight>
              </a:rPr>
              <a:t> University</a:t>
            </a: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a:t>
            </a:fld>
            <a:endParaRPr lang="en-US"/>
          </a:p>
        </p:txBody>
      </p:sp>
    </p:spTree>
    <p:extLst>
      <p:ext uri="{BB962C8B-B14F-4D97-AF65-F5344CB8AC3E}">
        <p14:creationId xmlns:p14="http://schemas.microsoft.com/office/powerpoint/2010/main" val="2456316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1</a:t>
            </a:fld>
            <a:endParaRPr lang="en-US"/>
          </a:p>
        </p:txBody>
      </p:sp>
    </p:spTree>
    <p:extLst>
      <p:ext uri="{BB962C8B-B14F-4D97-AF65-F5344CB8AC3E}">
        <p14:creationId xmlns:p14="http://schemas.microsoft.com/office/powerpoint/2010/main" val="32169697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2</a:t>
            </a:fld>
            <a:endParaRPr lang="en-US"/>
          </a:p>
        </p:txBody>
      </p:sp>
    </p:spTree>
    <p:extLst>
      <p:ext uri="{BB962C8B-B14F-4D97-AF65-F5344CB8AC3E}">
        <p14:creationId xmlns:p14="http://schemas.microsoft.com/office/powerpoint/2010/main" val="27112871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3</a:t>
            </a:fld>
            <a:endParaRPr lang="en-US"/>
          </a:p>
        </p:txBody>
      </p:sp>
    </p:spTree>
    <p:extLst>
      <p:ext uri="{BB962C8B-B14F-4D97-AF65-F5344CB8AC3E}">
        <p14:creationId xmlns:p14="http://schemas.microsoft.com/office/powerpoint/2010/main" val="2574996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4</a:t>
            </a:fld>
            <a:endParaRPr lang="en-US"/>
          </a:p>
        </p:txBody>
      </p:sp>
    </p:spTree>
    <p:extLst>
      <p:ext uri="{BB962C8B-B14F-4D97-AF65-F5344CB8AC3E}">
        <p14:creationId xmlns:p14="http://schemas.microsoft.com/office/powerpoint/2010/main" val="46112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5</a:t>
            </a:fld>
            <a:endParaRPr lang="en-US"/>
          </a:p>
        </p:txBody>
      </p:sp>
    </p:spTree>
    <p:extLst>
      <p:ext uri="{BB962C8B-B14F-4D97-AF65-F5344CB8AC3E}">
        <p14:creationId xmlns:p14="http://schemas.microsoft.com/office/powerpoint/2010/main" val="412461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6</a:t>
            </a:fld>
            <a:endParaRPr lang="en-US"/>
          </a:p>
        </p:txBody>
      </p:sp>
    </p:spTree>
    <p:extLst>
      <p:ext uri="{BB962C8B-B14F-4D97-AF65-F5344CB8AC3E}">
        <p14:creationId xmlns:p14="http://schemas.microsoft.com/office/powerpoint/2010/main" val="20800312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7</a:t>
            </a:fld>
            <a:endParaRPr lang="en-US"/>
          </a:p>
        </p:txBody>
      </p:sp>
    </p:spTree>
    <p:extLst>
      <p:ext uri="{BB962C8B-B14F-4D97-AF65-F5344CB8AC3E}">
        <p14:creationId xmlns:p14="http://schemas.microsoft.com/office/powerpoint/2010/main" val="1312121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8</a:t>
            </a:fld>
            <a:endParaRPr lang="en-US"/>
          </a:p>
        </p:txBody>
      </p:sp>
    </p:spTree>
    <p:extLst>
      <p:ext uri="{BB962C8B-B14F-4D97-AF65-F5344CB8AC3E}">
        <p14:creationId xmlns:p14="http://schemas.microsoft.com/office/powerpoint/2010/main" val="4102543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9</a:t>
            </a:fld>
            <a:endParaRPr lang="en-US"/>
          </a:p>
        </p:txBody>
      </p:sp>
    </p:spTree>
    <p:extLst>
      <p:ext uri="{BB962C8B-B14F-4D97-AF65-F5344CB8AC3E}">
        <p14:creationId xmlns:p14="http://schemas.microsoft.com/office/powerpoint/2010/main" val="40950076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0</a:t>
            </a:fld>
            <a:endParaRPr lang="en-US"/>
          </a:p>
        </p:txBody>
      </p:sp>
    </p:spTree>
    <p:extLst>
      <p:ext uri="{BB962C8B-B14F-4D97-AF65-F5344CB8AC3E}">
        <p14:creationId xmlns:p14="http://schemas.microsoft.com/office/powerpoint/2010/main" val="2687665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3</a:t>
            </a:fld>
            <a:endParaRPr lang="en-US"/>
          </a:p>
        </p:txBody>
      </p:sp>
    </p:spTree>
    <p:extLst>
      <p:ext uri="{BB962C8B-B14F-4D97-AF65-F5344CB8AC3E}">
        <p14:creationId xmlns:p14="http://schemas.microsoft.com/office/powerpoint/2010/main" val="438265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1</a:t>
            </a:fld>
            <a:endParaRPr lang="en-US"/>
          </a:p>
        </p:txBody>
      </p:sp>
    </p:spTree>
    <p:extLst>
      <p:ext uri="{BB962C8B-B14F-4D97-AF65-F5344CB8AC3E}">
        <p14:creationId xmlns:p14="http://schemas.microsoft.com/office/powerpoint/2010/main" val="4282811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2</a:t>
            </a:fld>
            <a:endParaRPr lang="en-US"/>
          </a:p>
        </p:txBody>
      </p:sp>
    </p:spTree>
    <p:extLst>
      <p:ext uri="{BB962C8B-B14F-4D97-AF65-F5344CB8AC3E}">
        <p14:creationId xmlns:p14="http://schemas.microsoft.com/office/powerpoint/2010/main" val="3078332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dirty="0">
                <a:solidFill>
                  <a:schemeClr val="bg1"/>
                </a:solidFill>
                <a:highlight>
                  <a:srgbClr val="FFFF00"/>
                </a:highlight>
              </a:rPr>
              <a:t> University</a:t>
            </a:r>
          </a:p>
        </p:txBody>
      </p:sp>
      <p:sp>
        <p:nvSpPr>
          <p:cNvPr id="4" name="Slide Number Placeholder 3"/>
          <p:cNvSpPr>
            <a:spLocks noGrp="1"/>
          </p:cNvSpPr>
          <p:nvPr>
            <p:ph type="sldNum" sz="quarter" idx="5"/>
          </p:nvPr>
        </p:nvSpPr>
        <p:spPr/>
        <p:txBody>
          <a:bodyPr/>
          <a:lstStyle/>
          <a:p>
            <a:fld id="{12AFF00F-707B-EF40-9119-FE2C2F517A5A}" type="slidenum">
              <a:rPr lang="en-US" smtClean="0"/>
              <a:t>23</a:t>
            </a:fld>
            <a:endParaRPr lang="en-US"/>
          </a:p>
        </p:txBody>
      </p:sp>
    </p:spTree>
    <p:extLst>
      <p:ext uri="{BB962C8B-B14F-4D97-AF65-F5344CB8AC3E}">
        <p14:creationId xmlns:p14="http://schemas.microsoft.com/office/powerpoint/2010/main" val="958293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4</a:t>
            </a:fld>
            <a:endParaRPr lang="en-US"/>
          </a:p>
        </p:txBody>
      </p:sp>
    </p:spTree>
    <p:extLst>
      <p:ext uri="{BB962C8B-B14F-4D97-AF65-F5344CB8AC3E}">
        <p14:creationId xmlns:p14="http://schemas.microsoft.com/office/powerpoint/2010/main" val="3514934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5</a:t>
            </a:fld>
            <a:endParaRPr lang="en-US"/>
          </a:p>
        </p:txBody>
      </p:sp>
    </p:spTree>
    <p:extLst>
      <p:ext uri="{BB962C8B-B14F-4D97-AF65-F5344CB8AC3E}">
        <p14:creationId xmlns:p14="http://schemas.microsoft.com/office/powerpoint/2010/main" val="2739101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6</a:t>
            </a:fld>
            <a:endParaRPr lang="en-US"/>
          </a:p>
        </p:txBody>
      </p:sp>
    </p:spTree>
    <p:extLst>
      <p:ext uri="{BB962C8B-B14F-4D97-AF65-F5344CB8AC3E}">
        <p14:creationId xmlns:p14="http://schemas.microsoft.com/office/powerpoint/2010/main" val="3397919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7</a:t>
            </a:fld>
            <a:endParaRPr lang="en-US"/>
          </a:p>
        </p:txBody>
      </p:sp>
    </p:spTree>
    <p:extLst>
      <p:ext uri="{BB962C8B-B14F-4D97-AF65-F5344CB8AC3E}">
        <p14:creationId xmlns:p14="http://schemas.microsoft.com/office/powerpoint/2010/main" val="4085840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8</a:t>
            </a:fld>
            <a:endParaRPr lang="en-US"/>
          </a:p>
        </p:txBody>
      </p:sp>
    </p:spTree>
    <p:extLst>
      <p:ext uri="{BB962C8B-B14F-4D97-AF65-F5344CB8AC3E}">
        <p14:creationId xmlns:p14="http://schemas.microsoft.com/office/powerpoint/2010/main" val="3137285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9</a:t>
            </a:fld>
            <a:endParaRPr lang="en-US"/>
          </a:p>
        </p:txBody>
      </p:sp>
    </p:spTree>
    <p:extLst>
      <p:ext uri="{BB962C8B-B14F-4D97-AF65-F5344CB8AC3E}">
        <p14:creationId xmlns:p14="http://schemas.microsoft.com/office/powerpoint/2010/main" val="1173330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0</a:t>
            </a:fld>
            <a:endParaRPr lang="en-US"/>
          </a:p>
        </p:txBody>
      </p:sp>
    </p:spTree>
    <p:extLst>
      <p:ext uri="{BB962C8B-B14F-4D97-AF65-F5344CB8AC3E}">
        <p14:creationId xmlns:p14="http://schemas.microsoft.com/office/powerpoint/2010/main" val="1114165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226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4A96C637-82EE-4DB3-9504-8434C1E4AAFB}"/>
              </a:ext>
            </a:extLst>
          </p:cNvPr>
          <p:cNvSpPr>
            <a:spLocks noGrp="1"/>
          </p:cNvSpPr>
          <p:nvPr>
            <p:ph type="pic" sz="quarter" idx="14"/>
          </p:nvPr>
        </p:nvSpPr>
        <p:spPr>
          <a:xfrm>
            <a:off x="1172841"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a16="http://schemas.microsoft.com/office/drawing/2014/main" id="{7C8E273D-458F-4158-AE18-FF2000DEFF17}"/>
              </a:ext>
            </a:extLst>
          </p:cNvPr>
          <p:cNvSpPr>
            <a:spLocks noGrp="1"/>
          </p:cNvSpPr>
          <p:nvPr>
            <p:ph type="pic" sz="quarter" idx="15"/>
          </p:nvPr>
        </p:nvSpPr>
        <p:spPr>
          <a:xfrm>
            <a:off x="8551377"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a16="http://schemas.microsoft.com/office/drawing/2014/main" id="{7D392D9E-C14F-458E-9143-5F612AF7414F}"/>
              </a:ext>
            </a:extLst>
          </p:cNvPr>
          <p:cNvSpPr>
            <a:spLocks noGrp="1"/>
          </p:cNvSpPr>
          <p:nvPr>
            <p:ph type="pic" sz="quarter" idx="16"/>
          </p:nvPr>
        </p:nvSpPr>
        <p:spPr>
          <a:xfrm>
            <a:off x="3638380"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5" name="Picture Placeholder 3">
            <a:extLst>
              <a:ext uri="{FF2B5EF4-FFF2-40B4-BE49-F238E27FC236}">
                <a16:creationId xmlns:a16="http://schemas.microsoft.com/office/drawing/2014/main" id="{DE987D9B-327C-4616-B326-7185F59D6B26}"/>
              </a:ext>
            </a:extLst>
          </p:cNvPr>
          <p:cNvSpPr>
            <a:spLocks noGrp="1"/>
          </p:cNvSpPr>
          <p:nvPr>
            <p:ph type="pic" sz="quarter" idx="17"/>
          </p:nvPr>
        </p:nvSpPr>
        <p:spPr>
          <a:xfrm>
            <a:off x="6081739"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85654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DFBB4AF6-8AAE-4A40-B1E7-FD03BADADEB6}"/>
              </a:ext>
            </a:extLst>
          </p:cNvPr>
          <p:cNvSpPr>
            <a:spLocks noGrp="1"/>
          </p:cNvSpPr>
          <p:nvPr>
            <p:ph type="pic" sz="quarter" idx="15"/>
          </p:nvPr>
        </p:nvSpPr>
        <p:spPr>
          <a:xfrm>
            <a:off x="9026114" y="3431086"/>
            <a:ext cx="2530470"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a16="http://schemas.microsoft.com/office/drawing/2014/main" id="{88A03DB2-BDB7-4F50-B705-417A20557AFB}"/>
              </a:ext>
            </a:extLst>
          </p:cNvPr>
          <p:cNvSpPr>
            <a:spLocks noGrp="1"/>
          </p:cNvSpPr>
          <p:nvPr>
            <p:ph type="pic" sz="quarter" idx="16"/>
          </p:nvPr>
        </p:nvSpPr>
        <p:spPr>
          <a:xfrm>
            <a:off x="6507505" y="3431086"/>
            <a:ext cx="2530470" cy="2256497"/>
          </a:xfrm>
          <a:prstGeom prst="rect">
            <a:avLst/>
          </a:prstGeom>
          <a:pattFill prst="pct5">
            <a:fgClr>
              <a:schemeClr val="accent1"/>
            </a:fgClr>
            <a:bgClr>
              <a:schemeClr val="bg1"/>
            </a:bgClr>
          </a:pattFill>
        </p:spPr>
        <p:txBody>
          <a:bodyPr>
            <a:normAutofit/>
          </a:bodyPr>
          <a:lstStyle>
            <a:lvl1pPr>
              <a:defRPr sz="1200" b="1">
                <a:latin typeface="Arial" panose="020B0604020202020204" pitchFamily="34" charset="0"/>
                <a:cs typeface="Arial" panose="020B0604020202020204" pitchFamily="34" charset="0"/>
              </a:defRPr>
            </a:lvl1pPr>
          </a:lstStyle>
          <a:p>
            <a:endParaRPr lang="en-US"/>
          </a:p>
        </p:txBody>
      </p:sp>
      <p:sp>
        <p:nvSpPr>
          <p:cNvPr id="28" name="Picture Placeholder 3">
            <a:extLst>
              <a:ext uri="{FF2B5EF4-FFF2-40B4-BE49-F238E27FC236}">
                <a16:creationId xmlns:a16="http://schemas.microsoft.com/office/drawing/2014/main" id="{1575C793-5616-4AC8-88B1-43E8E1BF721B}"/>
              </a:ext>
            </a:extLst>
          </p:cNvPr>
          <p:cNvSpPr>
            <a:spLocks noGrp="1"/>
          </p:cNvSpPr>
          <p:nvPr>
            <p:ph type="pic" sz="quarter" idx="17"/>
          </p:nvPr>
        </p:nvSpPr>
        <p:spPr>
          <a:xfrm>
            <a:off x="3823342" y="3431086"/>
            <a:ext cx="2728359"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9" name="Picture Placeholder 3">
            <a:extLst>
              <a:ext uri="{FF2B5EF4-FFF2-40B4-BE49-F238E27FC236}">
                <a16:creationId xmlns:a16="http://schemas.microsoft.com/office/drawing/2014/main" id="{F89D67C8-250A-4D2C-81F0-97EAA4A31367}"/>
              </a:ext>
            </a:extLst>
          </p:cNvPr>
          <p:cNvSpPr>
            <a:spLocks noGrp="1"/>
          </p:cNvSpPr>
          <p:nvPr>
            <p:ph type="pic" sz="quarter" idx="18"/>
          </p:nvPr>
        </p:nvSpPr>
        <p:spPr>
          <a:xfrm>
            <a:off x="1156395" y="3431086"/>
            <a:ext cx="2626263"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33" name="Freeform: Shape 32">
            <a:extLst>
              <a:ext uri="{FF2B5EF4-FFF2-40B4-BE49-F238E27FC236}">
                <a16:creationId xmlns:a16="http://schemas.microsoft.com/office/drawing/2014/main" id="{9B0C84CC-5834-4B48-B403-2538293B4C06}"/>
              </a:ext>
            </a:extLst>
          </p:cNvPr>
          <p:cNvSpPr/>
          <p:nvPr userDrawn="1"/>
        </p:nvSpPr>
        <p:spPr>
          <a:xfrm>
            <a:off x="1156890" y="1333501"/>
            <a:ext cx="5394811" cy="2120685"/>
          </a:xfrm>
          <a:custGeom>
            <a:avLst/>
            <a:gdLst>
              <a:gd name="connsiteX0" fmla="*/ 387662 w 5394811"/>
              <a:gd name="connsiteY0" fmla="*/ 0 h 2120685"/>
              <a:gd name="connsiteX1" fmla="*/ 5007149 w 5394811"/>
              <a:gd name="connsiteY1" fmla="*/ 0 h 2120685"/>
              <a:gd name="connsiteX2" fmla="*/ 5394811 w 5394811"/>
              <a:gd name="connsiteY2" fmla="*/ 387662 h 2120685"/>
              <a:gd name="connsiteX3" fmla="*/ 5394811 w 5394811"/>
              <a:gd name="connsiteY3" fmla="*/ 2120685 h 2120685"/>
              <a:gd name="connsiteX4" fmla="*/ 0 w 5394811"/>
              <a:gd name="connsiteY4" fmla="*/ 2120685 h 2120685"/>
              <a:gd name="connsiteX5" fmla="*/ 0 w 5394811"/>
              <a:gd name="connsiteY5" fmla="*/ 387662 h 2120685"/>
              <a:gd name="connsiteX6" fmla="*/ 387662 w 5394811"/>
              <a:gd name="connsiteY6" fmla="*/ 0 h 212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811" h="2120685">
                <a:moveTo>
                  <a:pt x="387662" y="0"/>
                </a:moveTo>
                <a:lnTo>
                  <a:pt x="5007149" y="0"/>
                </a:lnTo>
                <a:cubicBezTo>
                  <a:pt x="5221249" y="0"/>
                  <a:pt x="5394811" y="173562"/>
                  <a:pt x="5394811" y="387662"/>
                </a:cubicBezTo>
                <a:lnTo>
                  <a:pt x="5394811" y="2120685"/>
                </a:lnTo>
                <a:lnTo>
                  <a:pt x="0" y="2120685"/>
                </a:lnTo>
                <a:lnTo>
                  <a:pt x="0" y="387662"/>
                </a:lnTo>
                <a:cubicBezTo>
                  <a:pt x="0" y="173562"/>
                  <a:pt x="173562" y="0"/>
                  <a:pt x="387662" y="0"/>
                </a:cubicBezTo>
                <a:close/>
              </a:path>
            </a:pathLst>
          </a:cu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4261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48" name="Picture Placeholder 147">
            <a:extLst>
              <a:ext uri="{FF2B5EF4-FFF2-40B4-BE49-F238E27FC236}">
                <a16:creationId xmlns:a16="http://schemas.microsoft.com/office/drawing/2014/main" id="{2C80E470-AB36-4329-8A60-12EC19142564}"/>
              </a:ext>
            </a:extLst>
          </p:cNvPr>
          <p:cNvSpPr>
            <a:spLocks noGrp="1"/>
          </p:cNvSpPr>
          <p:nvPr>
            <p:ph type="pic" sz="quarter" idx="13"/>
          </p:nvPr>
        </p:nvSpPr>
        <p:spPr>
          <a:xfrm>
            <a:off x="650873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6" name="Picture Placeholder 145">
            <a:extLst>
              <a:ext uri="{FF2B5EF4-FFF2-40B4-BE49-F238E27FC236}">
                <a16:creationId xmlns:a16="http://schemas.microsoft.com/office/drawing/2014/main" id="{C8505DC3-31E3-4DD8-858F-DDF018DC2909}"/>
              </a:ext>
            </a:extLst>
          </p:cNvPr>
          <p:cNvSpPr>
            <a:spLocks noGrp="1"/>
          </p:cNvSpPr>
          <p:nvPr>
            <p:ph type="pic" sz="quarter" idx="12"/>
          </p:nvPr>
        </p:nvSpPr>
        <p:spPr>
          <a:xfrm>
            <a:off x="650873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4" name="Picture Placeholder 143">
            <a:extLst>
              <a:ext uri="{FF2B5EF4-FFF2-40B4-BE49-F238E27FC236}">
                <a16:creationId xmlns:a16="http://schemas.microsoft.com/office/drawing/2014/main" id="{4D4E6132-6A3E-4985-8FCB-E95EFBB6F3CB}"/>
              </a:ext>
            </a:extLst>
          </p:cNvPr>
          <p:cNvSpPr>
            <a:spLocks noGrp="1"/>
          </p:cNvSpPr>
          <p:nvPr>
            <p:ph type="pic" sz="quarter" idx="11"/>
          </p:nvPr>
        </p:nvSpPr>
        <p:spPr>
          <a:xfrm>
            <a:off x="118486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2" name="Picture Placeholder 141">
            <a:extLst>
              <a:ext uri="{FF2B5EF4-FFF2-40B4-BE49-F238E27FC236}">
                <a16:creationId xmlns:a16="http://schemas.microsoft.com/office/drawing/2014/main" id="{1B084E97-C094-444A-9421-A138E238518E}"/>
              </a:ext>
            </a:extLst>
          </p:cNvPr>
          <p:cNvSpPr>
            <a:spLocks noGrp="1"/>
          </p:cNvSpPr>
          <p:nvPr>
            <p:ph type="pic" sz="quarter" idx="10"/>
          </p:nvPr>
        </p:nvSpPr>
        <p:spPr>
          <a:xfrm>
            <a:off x="118486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159690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31F571-1F12-48E1-82DB-AADE23FDCCE8}"/>
              </a:ext>
            </a:extLst>
          </p:cNvPr>
          <p:cNvGrpSpPr/>
          <p:nvPr userDrawn="1"/>
        </p:nvGrpSpPr>
        <p:grpSpPr>
          <a:xfrm>
            <a:off x="0" y="2684935"/>
            <a:ext cx="11560709" cy="3396274"/>
            <a:chOff x="0" y="2684935"/>
            <a:chExt cx="11560709" cy="3396274"/>
          </a:xfrm>
        </p:grpSpPr>
        <p:sp>
          <p:nvSpPr>
            <p:cNvPr id="5" name="Rectangle 4">
              <a:extLst>
                <a:ext uri="{FF2B5EF4-FFF2-40B4-BE49-F238E27FC236}">
                  <a16:creationId xmlns:a16="http://schemas.microsoft.com/office/drawing/2014/main" id="{8B85F664-317A-4F05-882C-C3C5668762E5}"/>
                </a:ext>
              </a:extLst>
            </p:cNvPr>
            <p:cNvSpPr/>
            <p:nvPr userDrawn="1"/>
          </p:nvSpPr>
          <p:spPr>
            <a:xfrm>
              <a:off x="0" y="3371851"/>
              <a:ext cx="11560709" cy="270935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C2F08E9F-5DBF-4DF2-87E8-3D14996EFC0F}"/>
                </a:ext>
              </a:extLst>
            </p:cNvPr>
            <p:cNvSpPr/>
            <p:nvPr userDrawn="1"/>
          </p:nvSpPr>
          <p:spPr>
            <a:xfrm>
              <a:off x="3387161" y="2684935"/>
              <a:ext cx="2303202" cy="3396274"/>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36211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31B3A4-1073-4DA9-B593-33A8FB17BA32}"/>
              </a:ext>
            </a:extLst>
          </p:cNvPr>
          <p:cNvSpPr>
            <a:spLocks noGrp="1"/>
          </p:cNvSpPr>
          <p:nvPr>
            <p:ph type="pic" sz="quarter" idx="18"/>
          </p:nvPr>
        </p:nvSpPr>
        <p:spPr>
          <a:xfrm>
            <a:off x="0" y="0"/>
            <a:ext cx="26262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 name="Picture Placeholder 3">
            <a:extLst>
              <a:ext uri="{FF2B5EF4-FFF2-40B4-BE49-F238E27FC236}">
                <a16:creationId xmlns:a16="http://schemas.microsoft.com/office/drawing/2014/main" id="{DB52CD57-F95B-4600-9184-EF5DE1148953}"/>
              </a:ext>
            </a:extLst>
          </p:cNvPr>
          <p:cNvSpPr>
            <a:spLocks noGrp="1"/>
          </p:cNvSpPr>
          <p:nvPr>
            <p:ph type="pic" sz="quarter" idx="19"/>
          </p:nvPr>
        </p:nvSpPr>
        <p:spPr>
          <a:xfrm>
            <a:off x="2626263"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6" name="Picture Placeholder 3">
            <a:extLst>
              <a:ext uri="{FF2B5EF4-FFF2-40B4-BE49-F238E27FC236}">
                <a16:creationId xmlns:a16="http://schemas.microsoft.com/office/drawing/2014/main" id="{0FA23FA7-D745-4DA6-A193-1E864A1C3290}"/>
              </a:ext>
            </a:extLst>
          </p:cNvPr>
          <p:cNvSpPr>
            <a:spLocks noGrp="1"/>
          </p:cNvSpPr>
          <p:nvPr>
            <p:ph type="pic" sz="quarter" idx="20"/>
          </p:nvPr>
        </p:nvSpPr>
        <p:spPr>
          <a:xfrm>
            <a:off x="5810250"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7" name="Picture Placeholder 3">
            <a:extLst>
              <a:ext uri="{FF2B5EF4-FFF2-40B4-BE49-F238E27FC236}">
                <a16:creationId xmlns:a16="http://schemas.microsoft.com/office/drawing/2014/main" id="{06FC8628-727F-48AE-9456-D523F8240375}"/>
              </a:ext>
            </a:extLst>
          </p:cNvPr>
          <p:cNvSpPr>
            <a:spLocks noGrp="1"/>
          </p:cNvSpPr>
          <p:nvPr>
            <p:ph type="pic" sz="quarter" idx="21"/>
          </p:nvPr>
        </p:nvSpPr>
        <p:spPr>
          <a:xfrm>
            <a:off x="8994237" y="857"/>
            <a:ext cx="31977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209979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A7188E95-4B8C-416C-8BF6-11FFAF18DD08}"/>
              </a:ext>
            </a:extLst>
          </p:cNvPr>
          <p:cNvSpPr>
            <a:spLocks noGrp="1"/>
          </p:cNvSpPr>
          <p:nvPr>
            <p:ph type="pic" sz="quarter" idx="20"/>
          </p:nvPr>
        </p:nvSpPr>
        <p:spPr>
          <a:xfrm>
            <a:off x="6028848" y="3429000"/>
            <a:ext cx="5531862" cy="3429000"/>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a16="http://schemas.microsoft.com/office/drawing/2014/main" id="{F37419E8-B31C-4808-ACA7-BEA8A4CD0A65}"/>
              </a:ext>
            </a:extLst>
          </p:cNvPr>
          <p:cNvSpPr>
            <a:spLocks noGrp="1"/>
          </p:cNvSpPr>
          <p:nvPr>
            <p:ph type="pic" sz="quarter" idx="21"/>
          </p:nvPr>
        </p:nvSpPr>
        <p:spPr>
          <a:xfrm>
            <a:off x="1649066" y="0"/>
            <a:ext cx="4379781" cy="3427124"/>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6" name="Freeform: Shape 25">
            <a:extLst>
              <a:ext uri="{FF2B5EF4-FFF2-40B4-BE49-F238E27FC236}">
                <a16:creationId xmlns:a16="http://schemas.microsoft.com/office/drawing/2014/main" id="{24568BE0-85D0-4EA1-A66C-DB72B8F74A17}"/>
              </a:ext>
            </a:extLst>
          </p:cNvPr>
          <p:cNvSpPr/>
          <p:nvPr userDrawn="1"/>
        </p:nvSpPr>
        <p:spPr>
          <a:xfrm rot="16200000">
            <a:off x="280247" y="2058302"/>
            <a:ext cx="2275635" cy="462008"/>
          </a:xfrm>
          <a:custGeom>
            <a:avLst/>
            <a:gdLst>
              <a:gd name="connsiteX0" fmla="*/ 1956133 w 1956133"/>
              <a:gd name="connsiteY0" fmla="*/ 167015 h 462006"/>
              <a:gd name="connsiteX1" fmla="*/ 1956133 w 1956133"/>
              <a:gd name="connsiteY1" fmla="*/ 462006 h 462006"/>
              <a:gd name="connsiteX2" fmla="*/ 0 w 1956133"/>
              <a:gd name="connsiteY2" fmla="*/ 462005 h 462006"/>
              <a:gd name="connsiteX3" fmla="*/ 0 w 1956133"/>
              <a:gd name="connsiteY3" fmla="*/ 167015 h 462006"/>
              <a:gd name="connsiteX4" fmla="*/ 167015 w 1956133"/>
              <a:gd name="connsiteY4" fmla="*/ 0 h 462006"/>
              <a:gd name="connsiteX5" fmla="*/ 1789118 w 1956133"/>
              <a:gd name="connsiteY5" fmla="*/ 0 h 462006"/>
              <a:gd name="connsiteX6" fmla="*/ 1956133 w 1956133"/>
              <a:gd name="connsiteY6" fmla="*/ 167015 h 46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6133" h="462006">
                <a:moveTo>
                  <a:pt x="1956133" y="167015"/>
                </a:moveTo>
                <a:lnTo>
                  <a:pt x="1956133" y="462006"/>
                </a:lnTo>
                <a:lnTo>
                  <a:pt x="0" y="462005"/>
                </a:lnTo>
                <a:lnTo>
                  <a:pt x="0" y="167015"/>
                </a:lnTo>
                <a:cubicBezTo>
                  <a:pt x="0" y="74775"/>
                  <a:pt x="74775" y="0"/>
                  <a:pt x="167015" y="0"/>
                </a:cubicBezTo>
                <a:lnTo>
                  <a:pt x="1789118" y="0"/>
                </a:lnTo>
                <a:cubicBezTo>
                  <a:pt x="1881358" y="0"/>
                  <a:pt x="1956133" y="74775"/>
                  <a:pt x="1956133" y="167015"/>
                </a:cubicBez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8712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9F12CDD-AE58-4039-806D-EEB8F098C95F}"/>
              </a:ext>
            </a:extLst>
          </p:cNvPr>
          <p:cNvSpPr/>
          <p:nvPr userDrawn="1"/>
        </p:nvSpPr>
        <p:spPr>
          <a:xfrm>
            <a:off x="7776822" y="954211"/>
            <a:ext cx="3766134" cy="4949578"/>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Picture Placeholder 3">
            <a:extLst>
              <a:ext uri="{FF2B5EF4-FFF2-40B4-BE49-F238E27FC236}">
                <a16:creationId xmlns:a16="http://schemas.microsoft.com/office/drawing/2014/main" id="{BC536B5B-697F-43DC-B99B-63D01182936A}"/>
              </a:ext>
            </a:extLst>
          </p:cNvPr>
          <p:cNvSpPr>
            <a:spLocks noGrp="1"/>
          </p:cNvSpPr>
          <p:nvPr>
            <p:ph type="pic" sz="quarter" idx="21"/>
          </p:nvPr>
        </p:nvSpPr>
        <p:spPr>
          <a:xfrm>
            <a:off x="783370"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1" name="Picture Placeholder 3">
            <a:extLst>
              <a:ext uri="{FF2B5EF4-FFF2-40B4-BE49-F238E27FC236}">
                <a16:creationId xmlns:a16="http://schemas.microsoft.com/office/drawing/2014/main" id="{EDF0C305-26DC-466A-AD9B-931D0A411041}"/>
              </a:ext>
            </a:extLst>
          </p:cNvPr>
          <p:cNvSpPr>
            <a:spLocks noGrp="1"/>
          </p:cNvSpPr>
          <p:nvPr>
            <p:ph type="pic" sz="quarter" idx="22"/>
          </p:nvPr>
        </p:nvSpPr>
        <p:spPr>
          <a:xfrm>
            <a:off x="4280096"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210273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6B2C0F0F-7D8F-45CE-AB2D-CE21860DA116}"/>
              </a:ext>
            </a:extLst>
          </p:cNvPr>
          <p:cNvSpPr>
            <a:spLocks noGrp="1"/>
          </p:cNvSpPr>
          <p:nvPr>
            <p:ph type="pic" sz="quarter" idx="19"/>
          </p:nvPr>
        </p:nvSpPr>
        <p:spPr>
          <a:xfrm>
            <a:off x="0" y="0"/>
            <a:ext cx="5021456" cy="502397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859149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D022167-4FD7-4A90-AC4A-DECBFD0B5B47}"/>
              </a:ext>
            </a:extLst>
          </p:cNvPr>
          <p:cNvGrpSpPr/>
          <p:nvPr userDrawn="1"/>
        </p:nvGrpSpPr>
        <p:grpSpPr>
          <a:xfrm>
            <a:off x="0" y="-1"/>
            <a:ext cx="11560709" cy="6175359"/>
            <a:chOff x="0" y="-1"/>
            <a:chExt cx="11560709" cy="6175359"/>
          </a:xfrm>
        </p:grpSpPr>
        <p:sp>
          <p:nvSpPr>
            <p:cNvPr id="31" name="Freeform: Shape 30">
              <a:extLst>
                <a:ext uri="{FF2B5EF4-FFF2-40B4-BE49-F238E27FC236}">
                  <a16:creationId xmlns:a16="http://schemas.microsoft.com/office/drawing/2014/main" id="{E6758539-13A9-4304-A3A1-AF4C787DA8A6}"/>
                </a:ext>
              </a:extLst>
            </p:cNvPr>
            <p:cNvSpPr/>
            <p:nvPr userDrawn="1"/>
          </p:nvSpPr>
          <p:spPr>
            <a:xfrm>
              <a:off x="0" y="0"/>
              <a:ext cx="4169048" cy="5683701"/>
            </a:xfrm>
            <a:custGeom>
              <a:avLst/>
              <a:gdLst>
                <a:gd name="connsiteX0" fmla="*/ 0 w 4169048"/>
                <a:gd name="connsiteY0" fmla="*/ 0 h 5675858"/>
                <a:gd name="connsiteX1" fmla="*/ 4169048 w 4169048"/>
                <a:gd name="connsiteY1" fmla="*/ 0 h 5675858"/>
                <a:gd name="connsiteX2" fmla="*/ 4169048 w 4169048"/>
                <a:gd name="connsiteY2" fmla="*/ 3602865 h 5675858"/>
                <a:gd name="connsiteX3" fmla="*/ 475488 w 4169048"/>
                <a:gd name="connsiteY3" fmla="*/ 3602865 h 5675858"/>
                <a:gd name="connsiteX4" fmla="*/ 475488 w 4169048"/>
                <a:gd name="connsiteY4" fmla="*/ 5675858 h 5675858"/>
                <a:gd name="connsiteX5" fmla="*/ 0 w 4169048"/>
                <a:gd name="connsiteY5" fmla="*/ 5675858 h 567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9048" h="5675858">
                  <a:moveTo>
                    <a:pt x="0" y="0"/>
                  </a:moveTo>
                  <a:lnTo>
                    <a:pt x="4169048" y="0"/>
                  </a:lnTo>
                  <a:lnTo>
                    <a:pt x="4169048" y="3602865"/>
                  </a:lnTo>
                  <a:lnTo>
                    <a:pt x="475488" y="3602865"/>
                  </a:lnTo>
                  <a:lnTo>
                    <a:pt x="475488" y="5675858"/>
                  </a:lnTo>
                  <a:lnTo>
                    <a:pt x="0" y="5675858"/>
                  </a:ln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E9A10313-30A5-40BC-832E-040BDBF6A892}"/>
                </a:ext>
              </a:extLst>
            </p:cNvPr>
            <p:cNvSpPr/>
            <p:nvPr userDrawn="1"/>
          </p:nvSpPr>
          <p:spPr>
            <a:xfrm>
              <a:off x="2616696" y="-1"/>
              <a:ext cx="2804040" cy="3827423"/>
            </a:xfrm>
            <a:prstGeom prst="rect">
              <a:avLst/>
            </a:prstGeom>
            <a:gradFill>
              <a:gsLst>
                <a:gs pos="0">
                  <a:schemeClr val="bg1"/>
                </a:gs>
                <a:gs pos="38000">
                  <a:schemeClr val="bg1">
                    <a:lumMod val="95000"/>
                  </a:schemeClr>
                </a:gs>
                <a:gs pos="100000">
                  <a:schemeClr val="bg1">
                    <a:lumMod val="9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4535D96-8132-4ED5-A794-E6647F561648}"/>
                </a:ext>
              </a:extLst>
            </p:cNvPr>
            <p:cNvSpPr/>
            <p:nvPr userDrawn="1"/>
          </p:nvSpPr>
          <p:spPr>
            <a:xfrm>
              <a:off x="6096000" y="4314881"/>
              <a:ext cx="5464709" cy="1860477"/>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21" name="Picture Placeholder 3">
            <a:extLst>
              <a:ext uri="{FF2B5EF4-FFF2-40B4-BE49-F238E27FC236}">
                <a16:creationId xmlns:a16="http://schemas.microsoft.com/office/drawing/2014/main" id="{05457BF1-1865-430B-9F87-B4B7EA8F1B24}"/>
              </a:ext>
            </a:extLst>
          </p:cNvPr>
          <p:cNvSpPr>
            <a:spLocks noGrp="1"/>
          </p:cNvSpPr>
          <p:nvPr>
            <p:ph type="pic" sz="quarter" idx="10"/>
          </p:nvPr>
        </p:nvSpPr>
        <p:spPr>
          <a:xfrm>
            <a:off x="8853056"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2" name="Picture Placeholder 3">
            <a:extLst>
              <a:ext uri="{FF2B5EF4-FFF2-40B4-BE49-F238E27FC236}">
                <a16:creationId xmlns:a16="http://schemas.microsoft.com/office/drawing/2014/main" id="{12C577B2-1A5D-4C64-974E-E61E38AD51FC}"/>
              </a:ext>
            </a:extLst>
          </p:cNvPr>
          <p:cNvSpPr>
            <a:spLocks noGrp="1"/>
          </p:cNvSpPr>
          <p:nvPr>
            <p:ph type="pic" sz="quarter" idx="11"/>
          </p:nvPr>
        </p:nvSpPr>
        <p:spPr>
          <a:xfrm>
            <a:off x="5658676" y="764"/>
            <a:ext cx="2956440"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a16="http://schemas.microsoft.com/office/drawing/2014/main" id="{17E6A30A-185F-404C-9272-8A4F01B68710}"/>
              </a:ext>
            </a:extLst>
          </p:cNvPr>
          <p:cNvSpPr>
            <a:spLocks noGrp="1"/>
          </p:cNvSpPr>
          <p:nvPr>
            <p:ph type="pic" sz="quarter" idx="12"/>
          </p:nvPr>
        </p:nvSpPr>
        <p:spPr>
          <a:xfrm>
            <a:off x="2724172"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36047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F54A616-1A2D-4D97-A601-295F46490C74}"/>
              </a:ext>
            </a:extLst>
          </p:cNvPr>
          <p:cNvGrpSpPr/>
          <p:nvPr userDrawn="1"/>
        </p:nvGrpSpPr>
        <p:grpSpPr>
          <a:xfrm>
            <a:off x="0" y="0"/>
            <a:ext cx="11551457" cy="6840788"/>
            <a:chOff x="0" y="0"/>
            <a:chExt cx="11551457" cy="6840788"/>
          </a:xfrm>
        </p:grpSpPr>
        <p:sp>
          <p:nvSpPr>
            <p:cNvPr id="49" name="Freeform: Shape 48">
              <a:extLst>
                <a:ext uri="{FF2B5EF4-FFF2-40B4-BE49-F238E27FC236}">
                  <a16:creationId xmlns:a16="http://schemas.microsoft.com/office/drawing/2014/main" id="{D0A60C85-0577-43E8-925B-5BE3D3C5814A}"/>
                </a:ext>
              </a:extLst>
            </p:cNvPr>
            <p:cNvSpPr/>
            <p:nvPr userDrawn="1"/>
          </p:nvSpPr>
          <p:spPr>
            <a:xfrm>
              <a:off x="0" y="1524001"/>
              <a:ext cx="1199347" cy="2862780"/>
            </a:xfrm>
            <a:custGeom>
              <a:avLst/>
              <a:gdLst>
                <a:gd name="connsiteX0" fmla="*/ 0 w 1199347"/>
                <a:gd name="connsiteY0" fmla="*/ 0 h 2862780"/>
                <a:gd name="connsiteX1" fmla="*/ 919649 w 1199347"/>
                <a:gd name="connsiteY1" fmla="*/ 0 h 2862780"/>
                <a:gd name="connsiteX2" fmla="*/ 1199347 w 1199347"/>
                <a:gd name="connsiteY2" fmla="*/ 246450 h 2862780"/>
                <a:gd name="connsiteX3" fmla="*/ 1199347 w 1199347"/>
                <a:gd name="connsiteY3" fmla="*/ 2616331 h 2862780"/>
                <a:gd name="connsiteX4" fmla="*/ 919649 w 1199347"/>
                <a:gd name="connsiteY4" fmla="*/ 2862780 h 2862780"/>
                <a:gd name="connsiteX5" fmla="*/ 0 w 1199347"/>
                <a:gd name="connsiteY5" fmla="*/ 286278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347" h="2862780">
                  <a:moveTo>
                    <a:pt x="0" y="0"/>
                  </a:moveTo>
                  <a:lnTo>
                    <a:pt x="919649" y="0"/>
                  </a:lnTo>
                  <a:cubicBezTo>
                    <a:pt x="1074122" y="0"/>
                    <a:pt x="1199347" y="110339"/>
                    <a:pt x="1199347" y="246450"/>
                  </a:cubicBezTo>
                  <a:lnTo>
                    <a:pt x="1199347" y="2616331"/>
                  </a:lnTo>
                  <a:cubicBezTo>
                    <a:pt x="1199347" y="2752441"/>
                    <a:pt x="1074122" y="2862780"/>
                    <a:pt x="919649" y="2862780"/>
                  </a:cubicBezTo>
                  <a:lnTo>
                    <a:pt x="0" y="2862780"/>
                  </a:ln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Freeform: Shape 28">
              <a:extLst>
                <a:ext uri="{FF2B5EF4-FFF2-40B4-BE49-F238E27FC236}">
                  <a16:creationId xmlns:a16="http://schemas.microsoft.com/office/drawing/2014/main" id="{0E540F5B-AD52-454D-97F5-F9F54D872737}"/>
                </a:ext>
              </a:extLst>
            </p:cNvPr>
            <p:cNvSpPr/>
            <p:nvPr userDrawn="1"/>
          </p:nvSpPr>
          <p:spPr>
            <a:xfrm>
              <a:off x="1673615"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BE8FC7AC-6EAE-44F5-9B2F-9AB0C9A53937}"/>
                </a:ext>
              </a:extLst>
            </p:cNvPr>
            <p:cNvSpPr/>
            <p:nvPr userDrawn="1"/>
          </p:nvSpPr>
          <p:spPr>
            <a:xfrm>
              <a:off x="1673615" y="5262510"/>
              <a:ext cx="2302796" cy="1578278"/>
            </a:xfrm>
            <a:custGeom>
              <a:avLst/>
              <a:gdLst>
                <a:gd name="connsiteX0" fmla="*/ 279698 w 2302796"/>
                <a:gd name="connsiteY0" fmla="*/ 0 h 1578278"/>
                <a:gd name="connsiteX1" fmla="*/ 2023098 w 2302796"/>
                <a:gd name="connsiteY1" fmla="*/ 0 h 1578278"/>
                <a:gd name="connsiteX2" fmla="*/ 2302796 w 2302796"/>
                <a:gd name="connsiteY2" fmla="*/ 246450 h 1578278"/>
                <a:gd name="connsiteX3" fmla="*/ 2302796 w 2302796"/>
                <a:gd name="connsiteY3" fmla="*/ 1578278 h 1578278"/>
                <a:gd name="connsiteX4" fmla="*/ 0 w 2302796"/>
                <a:gd name="connsiteY4" fmla="*/ 1578278 h 1578278"/>
                <a:gd name="connsiteX5" fmla="*/ 0 w 2302796"/>
                <a:gd name="connsiteY5" fmla="*/ 246450 h 1578278"/>
                <a:gd name="connsiteX6" fmla="*/ 279698 w 2302796"/>
                <a:gd name="connsiteY6" fmla="*/ 0 h 157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796" h="1578278">
                  <a:moveTo>
                    <a:pt x="279698" y="0"/>
                  </a:moveTo>
                  <a:lnTo>
                    <a:pt x="2023098" y="0"/>
                  </a:lnTo>
                  <a:cubicBezTo>
                    <a:pt x="2177571" y="0"/>
                    <a:pt x="2302796" y="110340"/>
                    <a:pt x="2302796" y="246450"/>
                  </a:cubicBezTo>
                  <a:lnTo>
                    <a:pt x="2302796" y="1578278"/>
                  </a:lnTo>
                  <a:lnTo>
                    <a:pt x="0" y="1578278"/>
                  </a:lnTo>
                  <a:lnTo>
                    <a:pt x="0" y="246450"/>
                  </a:lnTo>
                  <a:cubicBezTo>
                    <a:pt x="0" y="110340"/>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FCD5206E-7993-4FB7-9AA2-E01D5AE34FDD}"/>
                </a:ext>
              </a:extLst>
            </p:cNvPr>
            <p:cNvSpPr/>
            <p:nvPr userDrawn="1"/>
          </p:nvSpPr>
          <p:spPr>
            <a:xfrm>
              <a:off x="1657459" y="0"/>
              <a:ext cx="2302796" cy="1235308"/>
            </a:xfrm>
            <a:custGeom>
              <a:avLst/>
              <a:gdLst>
                <a:gd name="connsiteX0" fmla="*/ 0 w 2302796"/>
                <a:gd name="connsiteY0" fmla="*/ 0 h 1235308"/>
                <a:gd name="connsiteX1" fmla="*/ 2302796 w 2302796"/>
                <a:gd name="connsiteY1" fmla="*/ 0 h 1235308"/>
                <a:gd name="connsiteX2" fmla="*/ 2302796 w 2302796"/>
                <a:gd name="connsiteY2" fmla="*/ 988859 h 1235308"/>
                <a:gd name="connsiteX3" fmla="*/ 2023098 w 2302796"/>
                <a:gd name="connsiteY3" fmla="*/ 1235308 h 1235308"/>
                <a:gd name="connsiteX4" fmla="*/ 279698 w 2302796"/>
                <a:gd name="connsiteY4" fmla="*/ 1235308 h 1235308"/>
                <a:gd name="connsiteX5" fmla="*/ 0 w 2302796"/>
                <a:gd name="connsiteY5" fmla="*/ 988859 h 12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2796" h="1235308">
                  <a:moveTo>
                    <a:pt x="0" y="0"/>
                  </a:moveTo>
                  <a:lnTo>
                    <a:pt x="2302796" y="0"/>
                  </a:lnTo>
                  <a:lnTo>
                    <a:pt x="2302796" y="988859"/>
                  </a:lnTo>
                  <a:cubicBezTo>
                    <a:pt x="2302796" y="1124969"/>
                    <a:pt x="2177571" y="1235308"/>
                    <a:pt x="2023098" y="1235308"/>
                  </a:cubicBezTo>
                  <a:lnTo>
                    <a:pt x="279698" y="1235308"/>
                  </a:lnTo>
                  <a:cubicBezTo>
                    <a:pt x="125225" y="1235308"/>
                    <a:pt x="0" y="1124969"/>
                    <a:pt x="0" y="988859"/>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8" name="Freeform: Shape 37">
              <a:extLst>
                <a:ext uri="{FF2B5EF4-FFF2-40B4-BE49-F238E27FC236}">
                  <a16:creationId xmlns:a16="http://schemas.microsoft.com/office/drawing/2014/main" id="{AD7B1EFC-A99D-4A5E-AF21-4ECB997B73EA}"/>
                </a:ext>
              </a:extLst>
            </p:cNvPr>
            <p:cNvSpPr/>
            <p:nvPr userDrawn="1"/>
          </p:nvSpPr>
          <p:spPr>
            <a:xfrm>
              <a:off x="7154954"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a16="http://schemas.microsoft.com/office/drawing/2014/main" id="{87350039-246A-4A26-AA5B-AC578F9350AA}"/>
                </a:ext>
              </a:extLst>
            </p:cNvPr>
            <p:cNvSpPr/>
            <p:nvPr userDrawn="1"/>
          </p:nvSpPr>
          <p:spPr>
            <a:xfrm>
              <a:off x="9904539" y="1524001"/>
              <a:ext cx="1646918" cy="2862780"/>
            </a:xfrm>
            <a:custGeom>
              <a:avLst/>
              <a:gdLst>
                <a:gd name="connsiteX0" fmla="*/ 279698 w 1646918"/>
                <a:gd name="connsiteY0" fmla="*/ 0 h 2862780"/>
                <a:gd name="connsiteX1" fmla="*/ 1646918 w 1646918"/>
                <a:gd name="connsiteY1" fmla="*/ 0 h 2862780"/>
                <a:gd name="connsiteX2" fmla="*/ 1646918 w 1646918"/>
                <a:gd name="connsiteY2" fmla="*/ 2862780 h 2862780"/>
                <a:gd name="connsiteX3" fmla="*/ 279698 w 1646918"/>
                <a:gd name="connsiteY3" fmla="*/ 2862780 h 2862780"/>
                <a:gd name="connsiteX4" fmla="*/ 0 w 1646918"/>
                <a:gd name="connsiteY4" fmla="*/ 2616331 h 2862780"/>
                <a:gd name="connsiteX5" fmla="*/ 0 w 1646918"/>
                <a:gd name="connsiteY5" fmla="*/ 246450 h 2862780"/>
                <a:gd name="connsiteX6" fmla="*/ 279698 w 1646918"/>
                <a:gd name="connsiteY6" fmla="*/ 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918" h="2862780">
                  <a:moveTo>
                    <a:pt x="279698" y="0"/>
                  </a:moveTo>
                  <a:lnTo>
                    <a:pt x="1646918" y="0"/>
                  </a:lnTo>
                  <a:lnTo>
                    <a:pt x="1646918" y="2862780"/>
                  </a:lnTo>
                  <a:lnTo>
                    <a:pt x="279698" y="2862780"/>
                  </a:lnTo>
                  <a:cubicBezTo>
                    <a:pt x="125225" y="2862780"/>
                    <a:pt x="0" y="2752441"/>
                    <a:pt x="0" y="2616331"/>
                  </a:cubicBezTo>
                  <a:lnTo>
                    <a:pt x="0" y="246450"/>
                  </a:lnTo>
                  <a:cubicBezTo>
                    <a:pt x="0" y="110339"/>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63" name="Picture Placeholder 62">
            <a:extLst>
              <a:ext uri="{FF2B5EF4-FFF2-40B4-BE49-F238E27FC236}">
                <a16:creationId xmlns:a16="http://schemas.microsoft.com/office/drawing/2014/main" id="{64F0C9B0-3BB1-42A0-AFE4-016549EA67CE}"/>
              </a:ext>
            </a:extLst>
          </p:cNvPr>
          <p:cNvSpPr>
            <a:spLocks noGrp="1"/>
          </p:cNvSpPr>
          <p:nvPr>
            <p:ph type="pic" sz="quarter" idx="15"/>
          </p:nvPr>
        </p:nvSpPr>
        <p:spPr>
          <a:xfrm>
            <a:off x="10028471" y="1678070"/>
            <a:ext cx="1522986" cy="2554642"/>
          </a:xfrm>
          <a:custGeom>
            <a:avLst/>
            <a:gdLst>
              <a:gd name="connsiteX0" fmla="*/ 249591 w 1522986"/>
              <a:gd name="connsiteY0" fmla="*/ 0 h 2554642"/>
              <a:gd name="connsiteX1" fmla="*/ 1522986 w 1522986"/>
              <a:gd name="connsiteY1" fmla="*/ 0 h 2554642"/>
              <a:gd name="connsiteX2" fmla="*/ 1522986 w 1522986"/>
              <a:gd name="connsiteY2" fmla="*/ 2554642 h 2554642"/>
              <a:gd name="connsiteX3" fmla="*/ 249591 w 1522986"/>
              <a:gd name="connsiteY3" fmla="*/ 2554642 h 2554642"/>
              <a:gd name="connsiteX4" fmla="*/ 0 w 1522986"/>
              <a:gd name="connsiteY4" fmla="*/ 2334720 h 2554642"/>
              <a:gd name="connsiteX5" fmla="*/ 0 w 1522986"/>
              <a:gd name="connsiteY5" fmla="*/ 219922 h 2554642"/>
              <a:gd name="connsiteX6" fmla="*/ 249591 w 1522986"/>
              <a:gd name="connsiteY6"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2986" h="2554642">
                <a:moveTo>
                  <a:pt x="249591" y="0"/>
                </a:moveTo>
                <a:lnTo>
                  <a:pt x="1522986" y="0"/>
                </a:lnTo>
                <a:lnTo>
                  <a:pt x="1522986" y="2554642"/>
                </a:lnTo>
                <a:lnTo>
                  <a:pt x="249591" y="2554642"/>
                </a:lnTo>
                <a:cubicBezTo>
                  <a:pt x="111746" y="2554642"/>
                  <a:pt x="0" y="2456180"/>
                  <a:pt x="0" y="2334720"/>
                </a:cubicBezTo>
                <a:lnTo>
                  <a:pt x="0" y="219922"/>
                </a:lnTo>
                <a:cubicBezTo>
                  <a:pt x="0" y="98463"/>
                  <a:pt x="111746" y="0"/>
                  <a:pt x="24959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4" name="Picture Placeholder 63">
            <a:extLst>
              <a:ext uri="{FF2B5EF4-FFF2-40B4-BE49-F238E27FC236}">
                <a16:creationId xmlns:a16="http://schemas.microsoft.com/office/drawing/2014/main" id="{9A00435B-AB81-40F7-B7FB-FF63F695B35A}"/>
              </a:ext>
            </a:extLst>
          </p:cNvPr>
          <p:cNvSpPr>
            <a:spLocks noGrp="1"/>
          </p:cNvSpPr>
          <p:nvPr>
            <p:ph type="pic" sz="quarter" idx="14"/>
          </p:nvPr>
        </p:nvSpPr>
        <p:spPr>
          <a:xfrm>
            <a:off x="7278887"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5" name="Picture Placeholder 64">
            <a:extLst>
              <a:ext uri="{FF2B5EF4-FFF2-40B4-BE49-F238E27FC236}">
                <a16:creationId xmlns:a16="http://schemas.microsoft.com/office/drawing/2014/main" id="{5DF2E8F0-11E2-4E1E-9B8C-431C6119DB78}"/>
              </a:ext>
            </a:extLst>
          </p:cNvPr>
          <p:cNvSpPr>
            <a:spLocks noGrp="1"/>
          </p:cNvSpPr>
          <p:nvPr>
            <p:ph type="pic" sz="quarter" idx="13"/>
          </p:nvPr>
        </p:nvSpPr>
        <p:spPr>
          <a:xfrm>
            <a:off x="1797548" y="5433792"/>
            <a:ext cx="2054931" cy="1424209"/>
          </a:xfrm>
          <a:custGeom>
            <a:avLst/>
            <a:gdLst>
              <a:gd name="connsiteX0" fmla="*/ 249592 w 2054931"/>
              <a:gd name="connsiteY0" fmla="*/ 0 h 1424209"/>
              <a:gd name="connsiteX1" fmla="*/ 1805340 w 2054931"/>
              <a:gd name="connsiteY1" fmla="*/ 0 h 1424209"/>
              <a:gd name="connsiteX2" fmla="*/ 2054931 w 2054931"/>
              <a:gd name="connsiteY2" fmla="*/ 219922 h 1424209"/>
              <a:gd name="connsiteX3" fmla="*/ 2054931 w 2054931"/>
              <a:gd name="connsiteY3" fmla="*/ 1424209 h 1424209"/>
              <a:gd name="connsiteX4" fmla="*/ 0 w 2054931"/>
              <a:gd name="connsiteY4" fmla="*/ 1424209 h 1424209"/>
              <a:gd name="connsiteX5" fmla="*/ 0 w 2054931"/>
              <a:gd name="connsiteY5" fmla="*/ 219922 h 1424209"/>
              <a:gd name="connsiteX6" fmla="*/ 249592 w 2054931"/>
              <a:gd name="connsiteY6" fmla="*/ 0 h 14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4931" h="1424209">
                <a:moveTo>
                  <a:pt x="249592" y="0"/>
                </a:moveTo>
                <a:lnTo>
                  <a:pt x="1805340" y="0"/>
                </a:lnTo>
                <a:cubicBezTo>
                  <a:pt x="1943185" y="0"/>
                  <a:pt x="2054931" y="98463"/>
                  <a:pt x="2054931" y="219922"/>
                </a:cubicBezTo>
                <a:lnTo>
                  <a:pt x="2054931" y="1424209"/>
                </a:lnTo>
                <a:lnTo>
                  <a:pt x="0" y="1424209"/>
                </a:ln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6" name="Picture Placeholder 65">
            <a:extLst>
              <a:ext uri="{FF2B5EF4-FFF2-40B4-BE49-F238E27FC236}">
                <a16:creationId xmlns:a16="http://schemas.microsoft.com/office/drawing/2014/main" id="{F16763F4-272C-4A22-B23F-13EF7B573BB2}"/>
              </a:ext>
            </a:extLst>
          </p:cNvPr>
          <p:cNvSpPr>
            <a:spLocks noGrp="1"/>
          </p:cNvSpPr>
          <p:nvPr>
            <p:ph type="pic" sz="quarter" idx="12"/>
          </p:nvPr>
        </p:nvSpPr>
        <p:spPr>
          <a:xfrm>
            <a:off x="1797548"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7" name="Picture Placeholder 66">
            <a:extLst>
              <a:ext uri="{FF2B5EF4-FFF2-40B4-BE49-F238E27FC236}">
                <a16:creationId xmlns:a16="http://schemas.microsoft.com/office/drawing/2014/main" id="{68B8A607-5333-44A0-BDAB-ACBC961A1B09}"/>
              </a:ext>
            </a:extLst>
          </p:cNvPr>
          <p:cNvSpPr>
            <a:spLocks noGrp="1"/>
          </p:cNvSpPr>
          <p:nvPr>
            <p:ph type="pic" sz="quarter" idx="11"/>
          </p:nvPr>
        </p:nvSpPr>
        <p:spPr>
          <a:xfrm>
            <a:off x="1781392" y="1"/>
            <a:ext cx="2054931" cy="1081239"/>
          </a:xfrm>
          <a:custGeom>
            <a:avLst/>
            <a:gdLst>
              <a:gd name="connsiteX0" fmla="*/ 0 w 2054931"/>
              <a:gd name="connsiteY0" fmla="*/ 0 h 1081239"/>
              <a:gd name="connsiteX1" fmla="*/ 2054931 w 2054931"/>
              <a:gd name="connsiteY1" fmla="*/ 0 h 1081239"/>
              <a:gd name="connsiteX2" fmla="*/ 2054931 w 2054931"/>
              <a:gd name="connsiteY2" fmla="*/ 861317 h 1081239"/>
              <a:gd name="connsiteX3" fmla="*/ 1805340 w 2054931"/>
              <a:gd name="connsiteY3" fmla="*/ 1081239 h 1081239"/>
              <a:gd name="connsiteX4" fmla="*/ 249592 w 2054931"/>
              <a:gd name="connsiteY4" fmla="*/ 1081239 h 1081239"/>
              <a:gd name="connsiteX5" fmla="*/ 0 w 2054931"/>
              <a:gd name="connsiteY5" fmla="*/ 861317 h 108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4931" h="1081239">
                <a:moveTo>
                  <a:pt x="0" y="0"/>
                </a:moveTo>
                <a:lnTo>
                  <a:pt x="2054931" y="0"/>
                </a:lnTo>
                <a:lnTo>
                  <a:pt x="2054931" y="861317"/>
                </a:lnTo>
                <a:cubicBezTo>
                  <a:pt x="2054931" y="982777"/>
                  <a:pt x="1943185" y="1081239"/>
                  <a:pt x="1805340" y="1081239"/>
                </a:cubicBezTo>
                <a:lnTo>
                  <a:pt x="249592" y="1081239"/>
                </a:lnTo>
                <a:cubicBezTo>
                  <a:pt x="111746" y="1081239"/>
                  <a:pt x="0" y="982777"/>
                  <a:pt x="0" y="861317"/>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8" name="Picture Placeholder 67">
            <a:extLst>
              <a:ext uri="{FF2B5EF4-FFF2-40B4-BE49-F238E27FC236}">
                <a16:creationId xmlns:a16="http://schemas.microsoft.com/office/drawing/2014/main" id="{338B3CA0-8AA5-45F3-B721-3C29A066A875}"/>
              </a:ext>
            </a:extLst>
          </p:cNvPr>
          <p:cNvSpPr>
            <a:spLocks noGrp="1"/>
          </p:cNvSpPr>
          <p:nvPr>
            <p:ph type="pic" sz="quarter" idx="10"/>
          </p:nvPr>
        </p:nvSpPr>
        <p:spPr>
          <a:xfrm>
            <a:off x="1" y="1678070"/>
            <a:ext cx="1055833" cy="2554642"/>
          </a:xfrm>
          <a:custGeom>
            <a:avLst/>
            <a:gdLst>
              <a:gd name="connsiteX0" fmla="*/ 0 w 1055833"/>
              <a:gd name="connsiteY0" fmla="*/ 0 h 2554642"/>
              <a:gd name="connsiteX1" fmla="*/ 806242 w 1055833"/>
              <a:gd name="connsiteY1" fmla="*/ 0 h 2554642"/>
              <a:gd name="connsiteX2" fmla="*/ 1055833 w 1055833"/>
              <a:gd name="connsiteY2" fmla="*/ 219922 h 2554642"/>
              <a:gd name="connsiteX3" fmla="*/ 1055833 w 1055833"/>
              <a:gd name="connsiteY3" fmla="*/ 2334720 h 2554642"/>
              <a:gd name="connsiteX4" fmla="*/ 806242 w 1055833"/>
              <a:gd name="connsiteY4" fmla="*/ 2554642 h 2554642"/>
              <a:gd name="connsiteX5" fmla="*/ 0 w 1055833"/>
              <a:gd name="connsiteY5" fmla="*/ 2554642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833" h="2554642">
                <a:moveTo>
                  <a:pt x="0" y="0"/>
                </a:moveTo>
                <a:lnTo>
                  <a:pt x="806242" y="0"/>
                </a:lnTo>
                <a:cubicBezTo>
                  <a:pt x="944087" y="0"/>
                  <a:pt x="1055833" y="98463"/>
                  <a:pt x="1055833" y="219922"/>
                </a:cubicBezTo>
                <a:lnTo>
                  <a:pt x="1055833" y="2334720"/>
                </a:lnTo>
                <a:cubicBezTo>
                  <a:pt x="1055833" y="2456180"/>
                  <a:pt x="944087" y="2554642"/>
                  <a:pt x="806242" y="2554642"/>
                </a:cubicBezTo>
                <a:lnTo>
                  <a:pt x="0" y="2554642"/>
                </a:ln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94832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0A899D5-1FD7-41E6-8231-5D755AE029F2}"/>
              </a:ext>
            </a:extLst>
          </p:cNvPr>
          <p:cNvSpPr>
            <a:spLocks noGrp="1"/>
          </p:cNvSpPr>
          <p:nvPr>
            <p:ph type="pic" sz="quarter" idx="10"/>
          </p:nvPr>
        </p:nvSpPr>
        <p:spPr>
          <a:xfrm>
            <a:off x="0" y="0"/>
            <a:ext cx="12192000" cy="6858000"/>
          </a:xfrm>
          <a:pattFill prst="pct5">
            <a:fgClr>
              <a:schemeClr val="accent1"/>
            </a:fgClr>
            <a:bgClr>
              <a:schemeClr val="bg1"/>
            </a:bgClr>
          </a:pattFill>
        </p:spPr>
        <p:txBody>
          <a:bodyPr>
            <a:norm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613832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21" name="Picture Placeholder 63">
            <a:extLst>
              <a:ext uri="{FF2B5EF4-FFF2-40B4-BE49-F238E27FC236}">
                <a16:creationId xmlns:a16="http://schemas.microsoft.com/office/drawing/2014/main" id="{279B95B6-1569-409E-9236-38C662B7B667}"/>
              </a:ext>
            </a:extLst>
          </p:cNvPr>
          <p:cNvSpPr>
            <a:spLocks noGrp="1"/>
          </p:cNvSpPr>
          <p:nvPr>
            <p:ph type="pic" sz="quarter" idx="14"/>
          </p:nvPr>
        </p:nvSpPr>
        <p:spPr>
          <a:xfrm>
            <a:off x="1150810" y="3091641"/>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2" name="Picture Placeholder 63">
            <a:extLst>
              <a:ext uri="{FF2B5EF4-FFF2-40B4-BE49-F238E27FC236}">
                <a16:creationId xmlns:a16="http://schemas.microsoft.com/office/drawing/2014/main" id="{BEF2FD58-728B-4F45-BB04-475A4483BD2B}"/>
              </a:ext>
            </a:extLst>
          </p:cNvPr>
          <p:cNvSpPr>
            <a:spLocks noGrp="1"/>
          </p:cNvSpPr>
          <p:nvPr>
            <p:ph type="pic" sz="quarter" idx="15"/>
          </p:nvPr>
        </p:nvSpPr>
        <p:spPr>
          <a:xfrm>
            <a:off x="296306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3" name="Picture Placeholder 63">
            <a:extLst>
              <a:ext uri="{FF2B5EF4-FFF2-40B4-BE49-F238E27FC236}">
                <a16:creationId xmlns:a16="http://schemas.microsoft.com/office/drawing/2014/main" id="{B2E864A9-F636-4380-ABAF-88AD70C11617}"/>
              </a:ext>
            </a:extLst>
          </p:cNvPr>
          <p:cNvSpPr>
            <a:spLocks noGrp="1"/>
          </p:cNvSpPr>
          <p:nvPr>
            <p:ph type="pic" sz="quarter" idx="16"/>
          </p:nvPr>
        </p:nvSpPr>
        <p:spPr>
          <a:xfrm>
            <a:off x="904778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4" name="Picture Placeholder 63">
            <a:extLst>
              <a:ext uri="{FF2B5EF4-FFF2-40B4-BE49-F238E27FC236}">
                <a16:creationId xmlns:a16="http://schemas.microsoft.com/office/drawing/2014/main" id="{06653C03-D33C-4FC8-B02C-B2850E9A2058}"/>
              </a:ext>
            </a:extLst>
          </p:cNvPr>
          <p:cNvSpPr>
            <a:spLocks noGrp="1"/>
          </p:cNvSpPr>
          <p:nvPr>
            <p:ph type="pic" sz="quarter" idx="17"/>
          </p:nvPr>
        </p:nvSpPr>
        <p:spPr>
          <a:xfrm>
            <a:off x="7191222"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5" name="Picture Placeholder 63">
            <a:extLst>
              <a:ext uri="{FF2B5EF4-FFF2-40B4-BE49-F238E27FC236}">
                <a16:creationId xmlns:a16="http://schemas.microsoft.com/office/drawing/2014/main" id="{8CEEC702-8112-4AC9-B168-74FD69014B5C}"/>
              </a:ext>
            </a:extLst>
          </p:cNvPr>
          <p:cNvSpPr>
            <a:spLocks noGrp="1"/>
          </p:cNvSpPr>
          <p:nvPr>
            <p:ph type="pic" sz="quarter" idx="18"/>
          </p:nvPr>
        </p:nvSpPr>
        <p:spPr>
          <a:xfrm>
            <a:off x="4667376" y="1502234"/>
            <a:ext cx="2521849" cy="4363453"/>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49524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22" name="Picture Placeholder 63">
            <a:extLst>
              <a:ext uri="{FF2B5EF4-FFF2-40B4-BE49-F238E27FC236}">
                <a16:creationId xmlns:a16="http://schemas.microsoft.com/office/drawing/2014/main" id="{C9601528-BE2C-414D-863B-A6D955B9A1FC}"/>
              </a:ext>
            </a:extLst>
          </p:cNvPr>
          <p:cNvSpPr>
            <a:spLocks noGrp="1"/>
          </p:cNvSpPr>
          <p:nvPr>
            <p:ph type="pic" sz="quarter" idx="14"/>
          </p:nvPr>
        </p:nvSpPr>
        <p:spPr>
          <a:xfrm>
            <a:off x="0" y="1756611"/>
            <a:ext cx="4908884" cy="2883211"/>
          </a:xfrm>
          <a:prstGeom prst="rect">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71561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22" name="Picture Placeholder 63">
            <a:extLst>
              <a:ext uri="{FF2B5EF4-FFF2-40B4-BE49-F238E27FC236}">
                <a16:creationId xmlns:a16="http://schemas.microsoft.com/office/drawing/2014/main" id="{53A9E5B3-505E-409D-A92C-F8D26361D6DA}"/>
              </a:ext>
            </a:extLst>
          </p:cNvPr>
          <p:cNvSpPr>
            <a:spLocks noGrp="1"/>
          </p:cNvSpPr>
          <p:nvPr>
            <p:ph type="pic" sz="quarter" idx="18"/>
          </p:nvPr>
        </p:nvSpPr>
        <p:spPr>
          <a:xfrm>
            <a:off x="4591177" y="1210532"/>
            <a:ext cx="2837906" cy="4436937"/>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6461626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3CF4D1-ABE7-4EF6-AAD9-D1BFAA76931C}"/>
              </a:ext>
            </a:extLst>
          </p:cNvPr>
          <p:cNvGrpSpPr/>
          <p:nvPr userDrawn="1"/>
        </p:nvGrpSpPr>
        <p:grpSpPr>
          <a:xfrm>
            <a:off x="1172996" y="2374939"/>
            <a:ext cx="9536328" cy="3392906"/>
            <a:chOff x="1172996" y="2374939"/>
            <a:chExt cx="9536328" cy="3392906"/>
          </a:xfrm>
        </p:grpSpPr>
        <p:sp>
          <p:nvSpPr>
            <p:cNvPr id="21" name="Rectangle 20">
              <a:extLst>
                <a:ext uri="{FF2B5EF4-FFF2-40B4-BE49-F238E27FC236}">
                  <a16:creationId xmlns:a16="http://schemas.microsoft.com/office/drawing/2014/main" id="{66D30B58-5DAC-4FC0-834C-27234FAA3AAC}"/>
                </a:ext>
              </a:extLst>
            </p:cNvPr>
            <p:cNvSpPr/>
            <p:nvPr userDrawn="1"/>
          </p:nvSpPr>
          <p:spPr>
            <a:xfrm>
              <a:off x="1172996"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E7E6931B-E235-4C24-9BC8-E31A7E870110}"/>
                </a:ext>
              </a:extLst>
            </p:cNvPr>
            <p:cNvSpPr/>
            <p:nvPr userDrawn="1"/>
          </p:nvSpPr>
          <p:spPr>
            <a:xfrm>
              <a:off x="6329780"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527707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9350FF-12C9-4839-8A5A-9C41348C6035}"/>
              </a:ext>
            </a:extLst>
          </p:cNvPr>
          <p:cNvSpPr/>
          <p:nvPr userDrawn="1"/>
        </p:nvSpPr>
        <p:spPr>
          <a:xfrm>
            <a:off x="1162563" y="845127"/>
            <a:ext cx="4450362" cy="5278581"/>
          </a:xfrm>
          <a:prstGeom prst="rect">
            <a:avLst/>
          </a:prstGeom>
          <a:solidFill>
            <a:schemeClr val="bg1"/>
          </a:solidFill>
          <a:ln>
            <a:noFill/>
          </a:ln>
          <a:effectLst>
            <a:outerShdw blurRad="215900" dist="38100" dir="5400000" algn="t"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7573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EC79083-4048-4A0D-91AB-C291682C28B0}"/>
              </a:ext>
            </a:extLst>
          </p:cNvPr>
          <p:cNvGrpSpPr/>
          <p:nvPr userDrawn="1"/>
        </p:nvGrpSpPr>
        <p:grpSpPr>
          <a:xfrm>
            <a:off x="1713572" y="2646835"/>
            <a:ext cx="8414526" cy="3396274"/>
            <a:chOff x="1713572" y="2646835"/>
            <a:chExt cx="8414526" cy="3396274"/>
          </a:xfrm>
        </p:grpSpPr>
        <p:sp>
          <p:nvSpPr>
            <p:cNvPr id="22" name="Rectangle: Rounded Corners 21">
              <a:extLst>
                <a:ext uri="{FF2B5EF4-FFF2-40B4-BE49-F238E27FC236}">
                  <a16:creationId xmlns:a16="http://schemas.microsoft.com/office/drawing/2014/main" id="{F3CBADE6-8450-428C-89F7-FEA29E0C5C6E}"/>
                </a:ext>
              </a:extLst>
            </p:cNvPr>
            <p:cNvSpPr/>
            <p:nvPr userDrawn="1"/>
          </p:nvSpPr>
          <p:spPr>
            <a:xfrm>
              <a:off x="1713572" y="2646835"/>
              <a:ext cx="2303202" cy="3396274"/>
            </a:xfrm>
            <a:prstGeom prst="roundRect">
              <a:avLst>
                <a:gd name="adj" fmla="val 6334"/>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C3B8CC76-F238-4917-8D42-32EB71F9DD87}"/>
                </a:ext>
              </a:extLst>
            </p:cNvPr>
            <p:cNvSpPr/>
            <p:nvPr userDrawn="1"/>
          </p:nvSpPr>
          <p:spPr>
            <a:xfrm>
              <a:off x="7824896"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AC9CF5AA-ED8C-4C4D-8DC7-3FC9F0E3FDE4}"/>
                </a:ext>
              </a:extLst>
            </p:cNvPr>
            <p:cNvSpPr/>
            <p:nvPr userDrawn="1"/>
          </p:nvSpPr>
          <p:spPr>
            <a:xfrm>
              <a:off x="4770888"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11607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29DF0D4C-9B58-4BC6-91E0-3B6E146E0CCD}"/>
              </a:ext>
            </a:extLst>
          </p:cNvPr>
          <p:cNvSpPr>
            <a:spLocks noGrp="1"/>
          </p:cNvSpPr>
          <p:nvPr>
            <p:ph type="pic" sz="quarter" idx="19"/>
          </p:nvPr>
        </p:nvSpPr>
        <p:spPr>
          <a:xfrm>
            <a:off x="-1" y="3219450"/>
            <a:ext cx="11560710" cy="3638550"/>
          </a:xfrm>
          <a:custGeom>
            <a:avLst/>
            <a:gdLst>
              <a:gd name="connsiteX0" fmla="*/ 0 w 11560710"/>
              <a:gd name="connsiteY0" fmla="*/ 0 h 3638550"/>
              <a:gd name="connsiteX1" fmla="*/ 6497893 w 11560710"/>
              <a:gd name="connsiteY1" fmla="*/ 0 h 3638550"/>
              <a:gd name="connsiteX2" fmla="*/ 6497893 w 11560710"/>
              <a:gd name="connsiteY2" fmla="*/ 1485901 h 3638550"/>
              <a:gd name="connsiteX3" fmla="*/ 7348999 w 11560710"/>
              <a:gd name="connsiteY3" fmla="*/ 1485901 h 3638550"/>
              <a:gd name="connsiteX4" fmla="*/ 7348999 w 11560710"/>
              <a:gd name="connsiteY4" fmla="*/ 2680009 h 3638550"/>
              <a:gd name="connsiteX5" fmla="*/ 10709343 w 11560710"/>
              <a:gd name="connsiteY5" fmla="*/ 2680009 h 3638550"/>
              <a:gd name="connsiteX6" fmla="*/ 10709343 w 11560710"/>
              <a:gd name="connsiteY6" fmla="*/ 1485901 h 3638550"/>
              <a:gd name="connsiteX7" fmla="*/ 11560449 w 11560710"/>
              <a:gd name="connsiteY7" fmla="*/ 1485901 h 3638550"/>
              <a:gd name="connsiteX8" fmla="*/ 11560449 w 11560710"/>
              <a:gd name="connsiteY8" fmla="*/ 0 h 3638550"/>
              <a:gd name="connsiteX9" fmla="*/ 11560710 w 11560710"/>
              <a:gd name="connsiteY9" fmla="*/ 0 h 3638550"/>
              <a:gd name="connsiteX10" fmla="*/ 11560710 w 11560710"/>
              <a:gd name="connsiteY10" fmla="*/ 3638550 h 3638550"/>
              <a:gd name="connsiteX11" fmla="*/ 0 w 11560710"/>
              <a:gd name="connsiteY11" fmla="*/ 3638550 h 363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60710" h="3638550">
                <a:moveTo>
                  <a:pt x="0" y="0"/>
                </a:moveTo>
                <a:lnTo>
                  <a:pt x="6497893" y="0"/>
                </a:lnTo>
                <a:lnTo>
                  <a:pt x="6497893" y="1485901"/>
                </a:lnTo>
                <a:lnTo>
                  <a:pt x="7348999" y="1485901"/>
                </a:lnTo>
                <a:lnTo>
                  <a:pt x="7348999" y="2680009"/>
                </a:lnTo>
                <a:lnTo>
                  <a:pt x="10709343" y="2680009"/>
                </a:lnTo>
                <a:lnTo>
                  <a:pt x="10709343" y="1485901"/>
                </a:lnTo>
                <a:lnTo>
                  <a:pt x="11560449" y="1485901"/>
                </a:lnTo>
                <a:lnTo>
                  <a:pt x="11560449" y="0"/>
                </a:lnTo>
                <a:lnTo>
                  <a:pt x="11560710" y="0"/>
                </a:lnTo>
                <a:lnTo>
                  <a:pt x="11560710" y="3638550"/>
                </a:lnTo>
                <a:lnTo>
                  <a:pt x="0" y="3638550"/>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grpSp>
        <p:nvGrpSpPr>
          <p:cNvPr id="2" name="Group 1">
            <a:extLst>
              <a:ext uri="{FF2B5EF4-FFF2-40B4-BE49-F238E27FC236}">
                <a16:creationId xmlns:a16="http://schemas.microsoft.com/office/drawing/2014/main" id="{3BF05FAF-CCF6-4AAE-B850-15856F5504EF}"/>
              </a:ext>
            </a:extLst>
          </p:cNvPr>
          <p:cNvGrpSpPr/>
          <p:nvPr userDrawn="1"/>
        </p:nvGrpSpPr>
        <p:grpSpPr>
          <a:xfrm>
            <a:off x="6497892" y="1"/>
            <a:ext cx="5062556" cy="5899458"/>
            <a:chOff x="6497892" y="1"/>
            <a:chExt cx="5062556" cy="5899458"/>
          </a:xfrm>
        </p:grpSpPr>
        <p:sp>
          <p:nvSpPr>
            <p:cNvPr id="28" name="Rectangle 27">
              <a:extLst>
                <a:ext uri="{FF2B5EF4-FFF2-40B4-BE49-F238E27FC236}">
                  <a16:creationId xmlns:a16="http://schemas.microsoft.com/office/drawing/2014/main" id="{C8B77BE9-F942-494C-8A06-457AB175A3A1}"/>
                </a:ext>
              </a:extLst>
            </p:cNvPr>
            <p:cNvSpPr/>
            <p:nvPr userDrawn="1"/>
          </p:nvSpPr>
          <p:spPr>
            <a:xfrm>
              <a:off x="6497892" y="1"/>
              <a:ext cx="5062556" cy="4705350"/>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1151B8CE-5938-4C47-853C-C42E610DF1B8}"/>
                </a:ext>
              </a:extLst>
            </p:cNvPr>
            <p:cNvSpPr/>
            <p:nvPr userDrawn="1"/>
          </p:nvSpPr>
          <p:spPr>
            <a:xfrm>
              <a:off x="7348998" y="2554613"/>
              <a:ext cx="3360344" cy="3344846"/>
            </a:xfrm>
            <a:prstGeom prst="rect">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65844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F1FEA92-E389-4B98-936D-B20E3A07FAD0}"/>
              </a:ext>
            </a:extLst>
          </p:cNvPr>
          <p:cNvGrpSpPr/>
          <p:nvPr userDrawn="1"/>
        </p:nvGrpSpPr>
        <p:grpSpPr>
          <a:xfrm>
            <a:off x="485661" y="632010"/>
            <a:ext cx="11074759" cy="5593980"/>
            <a:chOff x="485661" y="632010"/>
            <a:chExt cx="11074759" cy="5593980"/>
          </a:xfrm>
        </p:grpSpPr>
        <p:sp>
          <p:nvSpPr>
            <p:cNvPr id="27" name="Freeform: Shape 26">
              <a:extLst>
                <a:ext uri="{FF2B5EF4-FFF2-40B4-BE49-F238E27FC236}">
                  <a16:creationId xmlns:a16="http://schemas.microsoft.com/office/drawing/2014/main" id="{98DAED97-581E-46FD-A450-DDF83E7B78E1}"/>
                </a:ext>
              </a:extLst>
            </p:cNvPr>
            <p:cNvSpPr/>
            <p:nvPr userDrawn="1"/>
          </p:nvSpPr>
          <p:spPr>
            <a:xfrm>
              <a:off x="1056315" y="632010"/>
              <a:ext cx="4151789" cy="2429242"/>
            </a:xfrm>
            <a:custGeom>
              <a:avLst/>
              <a:gdLst>
                <a:gd name="connsiteX0" fmla="*/ 304804 w 3479071"/>
                <a:gd name="connsiteY0" fmla="*/ 0 h 2057400"/>
                <a:gd name="connsiteX1" fmla="*/ 3174267 w 3479071"/>
                <a:gd name="connsiteY1" fmla="*/ 0 h 2057400"/>
                <a:gd name="connsiteX2" fmla="*/ 3479071 w 3479071"/>
                <a:gd name="connsiteY2" fmla="*/ 304804 h 2057400"/>
                <a:gd name="connsiteX3" fmla="*/ 3479071 w 3479071"/>
                <a:gd name="connsiteY3" fmla="*/ 1752596 h 2057400"/>
                <a:gd name="connsiteX4" fmla="*/ 3174267 w 3479071"/>
                <a:gd name="connsiteY4" fmla="*/ 2057400 h 2057400"/>
                <a:gd name="connsiteX5" fmla="*/ 304804 w 3479071"/>
                <a:gd name="connsiteY5" fmla="*/ 2057400 h 2057400"/>
                <a:gd name="connsiteX6" fmla="*/ 0 w 3479071"/>
                <a:gd name="connsiteY6" fmla="*/ 1752596 h 2057400"/>
                <a:gd name="connsiteX7" fmla="*/ 0 w 3479071"/>
                <a:gd name="connsiteY7" fmla="*/ 304804 h 2057400"/>
                <a:gd name="connsiteX8" fmla="*/ 304804 w 3479071"/>
                <a:gd name="connsiteY8"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71" h="2057400">
                  <a:moveTo>
                    <a:pt x="304804" y="0"/>
                  </a:moveTo>
                  <a:lnTo>
                    <a:pt x="3174267" y="0"/>
                  </a:lnTo>
                  <a:cubicBezTo>
                    <a:pt x="3342606" y="0"/>
                    <a:pt x="3479071" y="136465"/>
                    <a:pt x="3479071" y="304804"/>
                  </a:cubicBezTo>
                  <a:lnTo>
                    <a:pt x="3479071" y="1752596"/>
                  </a:lnTo>
                  <a:cubicBezTo>
                    <a:pt x="3479071" y="1920935"/>
                    <a:pt x="3342606" y="2057400"/>
                    <a:pt x="3174267" y="2057400"/>
                  </a:cubicBezTo>
                  <a:lnTo>
                    <a:pt x="304804" y="2057400"/>
                  </a:lnTo>
                  <a:cubicBezTo>
                    <a:pt x="136465" y="2057400"/>
                    <a:pt x="0" y="1920935"/>
                    <a:pt x="0" y="1752596"/>
                  </a:cubicBezTo>
                  <a:lnTo>
                    <a:pt x="0" y="304804"/>
                  </a:lnTo>
                  <a:cubicBezTo>
                    <a:pt x="0" y="136465"/>
                    <a:pt x="136465" y="0"/>
                    <a:pt x="304804" y="0"/>
                  </a:cubicBezTo>
                  <a:close/>
                </a:path>
              </a:pathLst>
            </a:cu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7" name="Freeform: Shape 6">
              <a:extLst>
                <a:ext uri="{FF2B5EF4-FFF2-40B4-BE49-F238E27FC236}">
                  <a16:creationId xmlns:a16="http://schemas.microsoft.com/office/drawing/2014/main" id="{CADD7997-31A7-417C-8170-E18F1EC2C605}"/>
                </a:ext>
              </a:extLst>
            </p:cNvPr>
            <p:cNvSpPr/>
            <p:nvPr userDrawn="1"/>
          </p:nvSpPr>
          <p:spPr>
            <a:xfrm>
              <a:off x="5625547" y="1159782"/>
              <a:ext cx="5934873" cy="4021544"/>
            </a:xfrm>
            <a:custGeom>
              <a:avLst/>
              <a:gdLst>
                <a:gd name="connsiteX0" fmla="*/ 332340 w 5934873"/>
                <a:gd name="connsiteY0" fmla="*/ 0 h 4021544"/>
                <a:gd name="connsiteX1" fmla="*/ 5602533 w 5934873"/>
                <a:gd name="connsiteY1" fmla="*/ 0 h 4021544"/>
                <a:gd name="connsiteX2" fmla="*/ 5934873 w 5934873"/>
                <a:gd name="connsiteY2" fmla="*/ 332340 h 4021544"/>
                <a:gd name="connsiteX3" fmla="*/ 5934873 w 5934873"/>
                <a:gd name="connsiteY3" fmla="*/ 3689204 h 4021544"/>
                <a:gd name="connsiteX4" fmla="*/ 5602533 w 5934873"/>
                <a:gd name="connsiteY4" fmla="*/ 4021544 h 4021544"/>
                <a:gd name="connsiteX5" fmla="*/ 2663701 w 5934873"/>
                <a:gd name="connsiteY5" fmla="*/ 4021544 h 4021544"/>
                <a:gd name="connsiteX6" fmla="*/ 2663701 w 5934873"/>
                <a:gd name="connsiteY6" fmla="*/ 2432290 h 4021544"/>
                <a:gd name="connsiteX7" fmla="*/ 2321373 w 5934873"/>
                <a:gd name="connsiteY7" fmla="*/ 2089962 h 4021544"/>
                <a:gd name="connsiteX8" fmla="*/ 0 w 5934873"/>
                <a:gd name="connsiteY8" fmla="*/ 2089962 h 4021544"/>
                <a:gd name="connsiteX9" fmla="*/ 0 w 5934873"/>
                <a:gd name="connsiteY9" fmla="*/ 332340 h 4021544"/>
                <a:gd name="connsiteX10" fmla="*/ 332340 w 5934873"/>
                <a:gd name="connsiteY10" fmla="*/ 0 h 40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873" h="4021544">
                  <a:moveTo>
                    <a:pt x="332340" y="0"/>
                  </a:moveTo>
                  <a:lnTo>
                    <a:pt x="5602533" y="0"/>
                  </a:lnTo>
                  <a:cubicBezTo>
                    <a:pt x="5786079" y="0"/>
                    <a:pt x="5934873" y="148794"/>
                    <a:pt x="5934873" y="332340"/>
                  </a:cubicBezTo>
                  <a:lnTo>
                    <a:pt x="5934873" y="3689204"/>
                  </a:lnTo>
                  <a:cubicBezTo>
                    <a:pt x="5934873" y="3872750"/>
                    <a:pt x="5786079" y="4021544"/>
                    <a:pt x="5602533" y="4021544"/>
                  </a:cubicBezTo>
                  <a:lnTo>
                    <a:pt x="2663701" y="4021544"/>
                  </a:lnTo>
                  <a:lnTo>
                    <a:pt x="2663701" y="2432290"/>
                  </a:lnTo>
                  <a:cubicBezTo>
                    <a:pt x="2663701" y="2243227"/>
                    <a:pt x="2510436" y="2089962"/>
                    <a:pt x="2321373" y="2089962"/>
                  </a:cubicBezTo>
                  <a:lnTo>
                    <a:pt x="0" y="2089962"/>
                  </a:lnTo>
                  <a:lnTo>
                    <a:pt x="0" y="332340"/>
                  </a:lnTo>
                  <a:cubicBezTo>
                    <a:pt x="0" y="148794"/>
                    <a:pt x="148794" y="0"/>
                    <a:pt x="33234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5BCF2E6D-0C2A-48BB-A4A5-348B734F1FB6}"/>
                </a:ext>
              </a:extLst>
            </p:cNvPr>
            <p:cNvSpPr/>
            <p:nvPr userDrawn="1"/>
          </p:nvSpPr>
          <p:spPr>
            <a:xfrm>
              <a:off x="485661" y="3249744"/>
              <a:ext cx="7803587" cy="2976246"/>
            </a:xfrm>
            <a:prstGeom prst="roundRect">
              <a:avLst>
                <a:gd name="adj" fmla="val 11502"/>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31" name="Picture Placeholder 30">
            <a:extLst>
              <a:ext uri="{FF2B5EF4-FFF2-40B4-BE49-F238E27FC236}">
                <a16:creationId xmlns:a16="http://schemas.microsoft.com/office/drawing/2014/main" id="{215A9EDC-DBB1-4220-AE54-A8AC90F3DA32}"/>
              </a:ext>
            </a:extLst>
          </p:cNvPr>
          <p:cNvSpPr>
            <a:spLocks noGrp="1"/>
          </p:cNvSpPr>
          <p:nvPr>
            <p:ph type="pic" sz="quarter" idx="14"/>
          </p:nvPr>
        </p:nvSpPr>
        <p:spPr>
          <a:xfrm>
            <a:off x="5856157" y="1350328"/>
            <a:ext cx="5477214" cy="3640453"/>
          </a:xfrm>
          <a:custGeom>
            <a:avLst/>
            <a:gdLst>
              <a:gd name="connsiteX0" fmla="*/ 361097 w 5477214"/>
              <a:gd name="connsiteY0" fmla="*/ 0 h 3640453"/>
              <a:gd name="connsiteX1" fmla="*/ 5116117 w 5477214"/>
              <a:gd name="connsiteY1" fmla="*/ 0 h 3640453"/>
              <a:gd name="connsiteX2" fmla="*/ 5477214 w 5477214"/>
              <a:gd name="connsiteY2" fmla="*/ 361097 h 3640453"/>
              <a:gd name="connsiteX3" fmla="*/ 5477214 w 5477214"/>
              <a:gd name="connsiteY3" fmla="*/ 3279356 h 3640453"/>
              <a:gd name="connsiteX4" fmla="*/ 5116117 w 5477214"/>
              <a:gd name="connsiteY4" fmla="*/ 3640453 h 3640453"/>
              <a:gd name="connsiteX5" fmla="*/ 2492725 w 5477214"/>
              <a:gd name="connsiteY5" fmla="*/ 3640453 h 3640453"/>
              <a:gd name="connsiteX6" fmla="*/ 2492725 w 5477214"/>
              <a:gd name="connsiteY6" fmla="*/ 2162232 h 3640453"/>
              <a:gd name="connsiteX7" fmla="*/ 2150397 w 5477214"/>
              <a:gd name="connsiteY7" fmla="*/ 1819904 h 3640453"/>
              <a:gd name="connsiteX8" fmla="*/ 0 w 5477214"/>
              <a:gd name="connsiteY8" fmla="*/ 1819904 h 3640453"/>
              <a:gd name="connsiteX9" fmla="*/ 0 w 5477214"/>
              <a:gd name="connsiteY9" fmla="*/ 361097 h 3640453"/>
              <a:gd name="connsiteX10" fmla="*/ 361097 w 5477214"/>
              <a:gd name="connsiteY10" fmla="*/ 0 h 364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7214" h="3640453">
                <a:moveTo>
                  <a:pt x="361097" y="0"/>
                </a:moveTo>
                <a:lnTo>
                  <a:pt x="5116117" y="0"/>
                </a:lnTo>
                <a:cubicBezTo>
                  <a:pt x="5315545" y="0"/>
                  <a:pt x="5477214" y="161669"/>
                  <a:pt x="5477214" y="361097"/>
                </a:cubicBezTo>
                <a:lnTo>
                  <a:pt x="5477214" y="3279356"/>
                </a:lnTo>
                <a:cubicBezTo>
                  <a:pt x="5477214" y="3478784"/>
                  <a:pt x="5315545" y="3640453"/>
                  <a:pt x="5116117" y="3640453"/>
                </a:cubicBezTo>
                <a:lnTo>
                  <a:pt x="2492725" y="3640453"/>
                </a:lnTo>
                <a:lnTo>
                  <a:pt x="2492725" y="2162232"/>
                </a:lnTo>
                <a:cubicBezTo>
                  <a:pt x="2492725" y="1973169"/>
                  <a:pt x="2339460" y="1819904"/>
                  <a:pt x="2150397" y="1819904"/>
                </a:cubicBezTo>
                <a:lnTo>
                  <a:pt x="0" y="1819904"/>
                </a:lnTo>
                <a:lnTo>
                  <a:pt x="0" y="361097"/>
                </a:lnTo>
                <a:cubicBezTo>
                  <a:pt x="0" y="161669"/>
                  <a:pt x="161669" y="0"/>
                  <a:pt x="361097"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6" name="Picture Placeholder 65">
            <a:extLst>
              <a:ext uri="{FF2B5EF4-FFF2-40B4-BE49-F238E27FC236}">
                <a16:creationId xmlns:a16="http://schemas.microsoft.com/office/drawing/2014/main" id="{C4F5A4A2-BA6F-4EFD-A41C-266FCC26F25C}"/>
              </a:ext>
            </a:extLst>
          </p:cNvPr>
          <p:cNvSpPr>
            <a:spLocks noGrp="1"/>
          </p:cNvSpPr>
          <p:nvPr>
            <p:ph type="pic" sz="quarter" idx="12"/>
          </p:nvPr>
        </p:nvSpPr>
        <p:spPr>
          <a:xfrm>
            <a:off x="1199480" y="718947"/>
            <a:ext cx="3865458" cy="2261708"/>
          </a:xfrm>
          <a:prstGeom prst="roundRect">
            <a:avLst>
              <a:gd name="adj" fmla="val 14815"/>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589033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85438F-FF4C-465A-AF88-BC90CDD8B4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1985438F-FF4C-465A-AF88-BC90CDD8B4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12192000" cy="3172516"/>
          </a:xfrm>
          <a:prstGeom prst="rect">
            <a:avLst/>
          </a:prstGeom>
        </p:spPr>
      </p:pic>
      <p:sp>
        <p:nvSpPr>
          <p:cNvPr id="8" name="Rectangle 7">
            <a:extLst>
              <a:ext uri="{FF2B5EF4-FFF2-40B4-BE49-F238E27FC236}">
                <a16:creationId xmlns:a16="http://schemas.microsoft.com/office/drawing/2014/main" id="{3C89349A-746E-4F55-8078-4733F5DCBEDA}"/>
              </a:ext>
            </a:extLst>
          </p:cNvPr>
          <p:cNvSpPr/>
          <p:nvPr userDrawn="1"/>
        </p:nvSpPr>
        <p:spPr>
          <a:xfrm>
            <a:off x="427383" y="327991"/>
            <a:ext cx="3101008" cy="2212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914400" y="2554986"/>
            <a:ext cx="10363200" cy="1328466"/>
          </a:xfrm>
        </p:spPr>
        <p:txBody>
          <a:bodyPr vert="horz" anchor="b"/>
          <a:lstStyle>
            <a:lvl1pPr algn="ctr" rtl="0">
              <a:defRPr sz="6000" b="1" i="0">
                <a:solidFill>
                  <a:srgbClr val="1B8654"/>
                </a:solidFill>
                <a:latin typeface="GE SS Unique"/>
                <a:ea typeface="GE SS Unique"/>
                <a:cs typeface="GE SS Unique"/>
              </a:defRPr>
            </a:lvl1pPr>
          </a:lstStyle>
          <a:p>
            <a:r>
              <a:rPr lang="en-US" dirty="0"/>
              <a:t>Title</a:t>
            </a:r>
          </a:p>
        </p:txBody>
      </p:sp>
      <p:sp>
        <p:nvSpPr>
          <p:cNvPr id="3" name="Subtitle 2"/>
          <p:cNvSpPr>
            <a:spLocks noGrp="1"/>
          </p:cNvSpPr>
          <p:nvPr>
            <p:ph type="subTitle" idx="1" hasCustomPrompt="1"/>
          </p:nvPr>
        </p:nvSpPr>
        <p:spPr>
          <a:xfrm>
            <a:off x="1524000" y="3898254"/>
            <a:ext cx="9144000" cy="1655762"/>
          </a:xfrm>
        </p:spPr>
        <p:txBody>
          <a:bodyPr/>
          <a:lstStyle>
            <a:lvl1pPr marL="0" indent="0" algn="ctr" rtl="0">
              <a:buNone/>
              <a:defRPr sz="2400" b="0" i="0">
                <a:solidFill>
                  <a:srgbClr val="9F915C"/>
                </a:solidFill>
                <a:latin typeface="GE SS Unique"/>
                <a:ea typeface="GE SS Unique Light" charset="0"/>
                <a:cs typeface="GE SS Unique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4" name="Date Placeholder 3"/>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pic>
        <p:nvPicPr>
          <p:cNvPr id="9" name="Picture 8" descr="Logo, company name&#10;&#10;Description automatically generated">
            <a:extLst>
              <a:ext uri="{FF2B5EF4-FFF2-40B4-BE49-F238E27FC236}">
                <a16:creationId xmlns:a16="http://schemas.microsoft.com/office/drawing/2014/main" id="{42D44990-C9BF-4213-AA80-365F44D4F5A4}"/>
              </a:ext>
            </a:extLst>
          </p:cNvPr>
          <p:cNvPicPr>
            <a:picLocks noChangeAspect="1"/>
          </p:cNvPicPr>
          <p:nvPr userDrawn="1"/>
        </p:nvPicPr>
        <p:blipFill rotWithShape="1">
          <a:blip r:embed="rId6"/>
          <a:srcRect t="13517" b="11390"/>
          <a:stretch/>
        </p:blipFill>
        <p:spPr>
          <a:xfrm>
            <a:off x="586404" y="238626"/>
            <a:ext cx="2594117" cy="1947983"/>
          </a:xfrm>
          <a:prstGeom prst="rect">
            <a:avLst/>
          </a:prstGeom>
        </p:spPr>
      </p:pic>
    </p:spTree>
    <p:extLst>
      <p:ext uri="{BB962C8B-B14F-4D97-AF65-F5344CB8AC3E}">
        <p14:creationId xmlns:p14="http://schemas.microsoft.com/office/powerpoint/2010/main" val="1208914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D6A0C6-836A-4C1A-B690-72565AB567C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0FD6A0C6-836A-4C1A-B690-72565AB567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931008"/>
            <a:ext cx="10515600" cy="4245955"/>
          </a:xfrm>
        </p:spPr>
        <p:txBody>
          <a:bodyPr>
            <a:normAutofit/>
          </a:bodyPr>
          <a:lstStyle>
            <a:lvl1pPr>
              <a:defRPr sz="1800" b="0" i="0">
                <a:latin typeface="GE SS Unique"/>
                <a:ea typeface="GE SS Unique Light" charset="0"/>
                <a:cs typeface="GE SS Unique Light" charset="0"/>
              </a:defRPr>
            </a:lvl1pPr>
            <a:lvl2pPr>
              <a:defRPr sz="1600" b="0" i="0">
                <a:latin typeface="GE SS Unique"/>
                <a:ea typeface="GE SS Unique Light" charset="0"/>
                <a:cs typeface="GE SS Unique Light" charset="0"/>
              </a:defRPr>
            </a:lvl2pPr>
            <a:lvl3pPr>
              <a:defRPr sz="1400" b="0" i="0">
                <a:latin typeface="GE SS Unique"/>
                <a:ea typeface="GE SS Unique Light" charset="0"/>
                <a:cs typeface="GE SS Unique Light" charset="0"/>
              </a:defRPr>
            </a:lvl3pPr>
            <a:lvl4pPr>
              <a:defRPr sz="1200" b="0" i="0">
                <a:latin typeface="GE SS Unique"/>
                <a:ea typeface="GE SS Unique Light" charset="0"/>
                <a:cs typeface="GE SS Unique Light" charset="0"/>
              </a:defRPr>
            </a:lvl4pPr>
            <a:lvl5pPr>
              <a:defRPr sz="1200" b="0" i="0">
                <a:latin typeface="GE SS Unique"/>
                <a:ea typeface="GE SS Unique Light" charset="0"/>
                <a:cs typeface="GE SS Unique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userDrawn="1"/>
        </p:nvSpPr>
        <p:spPr>
          <a:xfrm>
            <a:off x="2632501" y="1630017"/>
            <a:ext cx="184730" cy="369332"/>
          </a:xfrm>
          <a:prstGeom prst="rect">
            <a:avLst/>
          </a:prstGeom>
          <a:noFill/>
        </p:spPr>
        <p:txBody>
          <a:bodyPr wrap="none" rtlCol="0">
            <a:spAutoFit/>
          </a:bodyPr>
          <a:lstStyle/>
          <a:p>
            <a:pPr algn="r" rtl="1"/>
            <a:endParaRPr lang="en-US" dirty="0">
              <a:solidFill>
                <a:srgbClr val="2A2A2C"/>
              </a:solidFill>
            </a:endParaRPr>
          </a:p>
        </p:txBody>
      </p:sp>
      <p:sp>
        <p:nvSpPr>
          <p:cNvPr id="12" name="TextBox 11"/>
          <p:cNvSpPr txBox="1"/>
          <p:nvPr userDrawn="1"/>
        </p:nvSpPr>
        <p:spPr>
          <a:xfrm>
            <a:off x="5494971" y="1848678"/>
            <a:ext cx="184730" cy="369332"/>
          </a:xfrm>
          <a:prstGeom prst="rect">
            <a:avLst/>
          </a:prstGeom>
          <a:noFill/>
        </p:spPr>
        <p:txBody>
          <a:bodyPr wrap="none" rtlCol="0">
            <a:spAutoFit/>
          </a:bodyPr>
          <a:lstStyle/>
          <a:p>
            <a:pPr algn="r" rtl="1"/>
            <a:endParaRPr lang="en-US" dirty="0">
              <a:solidFill>
                <a:srgbClr val="2A2A2C"/>
              </a:solidFill>
            </a:endParaRPr>
          </a:p>
        </p:txBody>
      </p:sp>
      <p:sp>
        <p:nvSpPr>
          <p:cNvPr id="16" name="Text Placeholder 15"/>
          <p:cNvSpPr>
            <a:spLocks noGrp="1"/>
          </p:cNvSpPr>
          <p:nvPr>
            <p:ph type="body" sz="quarter" idx="13"/>
          </p:nvPr>
        </p:nvSpPr>
        <p:spPr>
          <a:xfrm>
            <a:off x="837117" y="1234897"/>
            <a:ext cx="10517770" cy="560387"/>
          </a:xfrm>
        </p:spPr>
        <p:txBody>
          <a:bodyPr>
            <a:normAutofit/>
          </a:bodyPr>
          <a:lstStyle>
            <a:lvl1pPr marL="0" indent="0">
              <a:buNone/>
              <a:defRPr sz="1800">
                <a:solidFill>
                  <a:schemeClr val="tx2"/>
                </a:solidFill>
              </a:defRPr>
            </a:lvl1pPr>
          </a:lstStyle>
          <a:p>
            <a:pPr lvl="0"/>
            <a:r>
              <a:rPr lang="en-US" dirty="0"/>
              <a:t>Click to edit Master text styles</a:t>
            </a:r>
          </a:p>
        </p:txBody>
      </p:sp>
      <p:sp>
        <p:nvSpPr>
          <p:cNvPr id="2" name="Date Placeholder 1">
            <a:extLst>
              <a:ext uri="{FF2B5EF4-FFF2-40B4-BE49-F238E27FC236}">
                <a16:creationId xmlns:a16="http://schemas.microsoft.com/office/drawing/2014/main" id="{1F86F9A1-67CD-44DE-B578-D7071FCE8D1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9" name="Footer Placeholder 8">
            <a:extLst>
              <a:ext uri="{FF2B5EF4-FFF2-40B4-BE49-F238E27FC236}">
                <a16:creationId xmlns:a16="http://schemas.microsoft.com/office/drawing/2014/main" id="{C8E68BE1-FDB2-49CB-AA74-575CF02FEE29}"/>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0" name="Slide Number Placeholder 9">
            <a:extLst>
              <a:ext uri="{FF2B5EF4-FFF2-40B4-BE49-F238E27FC236}">
                <a16:creationId xmlns:a16="http://schemas.microsoft.com/office/drawing/2014/main" id="{208C23C1-F8FA-4358-A670-872FBC4CC616}"/>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6" name="Title 5">
            <a:extLst>
              <a:ext uri="{FF2B5EF4-FFF2-40B4-BE49-F238E27FC236}">
                <a16:creationId xmlns:a16="http://schemas.microsoft.com/office/drawing/2014/main" id="{5CADD7C2-C48A-4A21-B34F-D862B9C95147}"/>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520988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0" name="Picture Placeholder 3">
            <a:extLst>
              <a:ext uri="{FF2B5EF4-FFF2-40B4-BE49-F238E27FC236}">
                <a16:creationId xmlns:a16="http://schemas.microsoft.com/office/drawing/2014/main" id="{8594386E-3B6A-4126-A7E7-05D7226C9E62}"/>
              </a:ext>
            </a:extLst>
          </p:cNvPr>
          <p:cNvSpPr>
            <a:spLocks noGrp="1"/>
          </p:cNvSpPr>
          <p:nvPr>
            <p:ph type="pic" sz="quarter" idx="10"/>
          </p:nvPr>
        </p:nvSpPr>
        <p:spPr>
          <a:xfrm>
            <a:off x="4675380" y="727788"/>
            <a:ext cx="6874240" cy="2831840"/>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95" name="Picture Placeholder 3">
            <a:extLst>
              <a:ext uri="{FF2B5EF4-FFF2-40B4-BE49-F238E27FC236}">
                <a16:creationId xmlns:a16="http://schemas.microsoft.com/office/drawing/2014/main" id="{851C505F-C27B-44ED-950D-268FDD6DB432}"/>
              </a:ext>
            </a:extLst>
          </p:cNvPr>
          <p:cNvSpPr>
            <a:spLocks noGrp="1"/>
          </p:cNvSpPr>
          <p:nvPr>
            <p:ph type="pic" sz="quarter" idx="11"/>
          </p:nvPr>
        </p:nvSpPr>
        <p:spPr>
          <a:xfrm>
            <a:off x="1846002" y="4068147"/>
            <a:ext cx="930937" cy="955958"/>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490442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817489-340F-4F4B-8147-D2BC2C95774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A4817489-340F-4F4B-8147-D2BC2C9577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1849" y="2507630"/>
            <a:ext cx="10515600" cy="1163294"/>
          </a:xfrm>
        </p:spPr>
        <p:txBody>
          <a:bodyPr vert="horz" anchor="ctr" anchorCtr="1"/>
          <a:lstStyle>
            <a:lvl1pPr algn="l" defTabSz="914400" rtl="0" eaLnBrk="1" latinLnBrk="0" hangingPunct="1">
              <a:lnSpc>
                <a:spcPct val="90000"/>
              </a:lnSpc>
              <a:spcBef>
                <a:spcPct val="0"/>
              </a:spcBef>
              <a:buNone/>
              <a:defRPr sz="6000" b="1" i="0">
                <a:solidFill>
                  <a:schemeClr val="tx1"/>
                </a:solidFill>
                <a:latin typeface="GE SS Unique"/>
                <a:ea typeface="GE SS Unique"/>
                <a:cs typeface="GE SS Unique"/>
              </a:defRPr>
            </a:lvl1pPr>
          </a:lstStyle>
          <a:p>
            <a:pPr algn="l" defTabSz="914400" rtl="0" eaLnBrk="1" latinLnBrk="0" hangingPunct="1">
              <a:lnSpc>
                <a:spcPct val="90000"/>
              </a:lnSpc>
              <a:spcBef>
                <a:spcPct val="0"/>
              </a:spcBef>
              <a:buNone/>
            </a:pPr>
            <a:r>
              <a:rPr lang="en-US" dirty="0"/>
              <a:t>Title</a:t>
            </a:r>
          </a:p>
        </p:txBody>
      </p:sp>
      <p:sp>
        <p:nvSpPr>
          <p:cNvPr id="3" name="Text Placeholder 2"/>
          <p:cNvSpPr>
            <a:spLocks noGrp="1"/>
          </p:cNvSpPr>
          <p:nvPr>
            <p:ph type="body" idx="1" hasCustomPrompt="1"/>
          </p:nvPr>
        </p:nvSpPr>
        <p:spPr>
          <a:xfrm>
            <a:off x="831849" y="3839373"/>
            <a:ext cx="10515600" cy="1500187"/>
          </a:xfrm>
        </p:spPr>
        <p:txBody>
          <a:bodyPr/>
          <a:lstStyle>
            <a:lvl1pPr marL="0" indent="0" algn="ctr" rtl="1">
              <a:buNone/>
              <a:defRPr sz="2400" b="0" i="0">
                <a:solidFill>
                  <a:schemeClr val="tx1"/>
                </a:solidFill>
                <a:latin typeface="GE SS Unique"/>
                <a:ea typeface="GE SS Unique Light" charset="0"/>
                <a:cs typeface="GE SS Unique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b="28494"/>
          <a:stretch/>
        </p:blipFill>
        <p:spPr>
          <a:xfrm rot="10800000">
            <a:off x="-6351" y="4589464"/>
            <a:ext cx="12192000" cy="2268536"/>
          </a:xfrm>
          <a:prstGeom prst="rect">
            <a:avLst/>
          </a:prstGeom>
        </p:spPr>
      </p:pic>
    </p:spTree>
    <p:extLst>
      <p:ext uri="{BB962C8B-B14F-4D97-AF65-F5344CB8AC3E}">
        <p14:creationId xmlns:p14="http://schemas.microsoft.com/office/powerpoint/2010/main" val="5815147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172201" y="2426567"/>
            <a:ext cx="5181600" cy="37503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38200" y="2426570"/>
            <a:ext cx="5181600" cy="37503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5"/>
          <p:cNvSpPr>
            <a:spLocks noGrp="1"/>
          </p:cNvSpPr>
          <p:nvPr>
            <p:ph type="body" sz="quarter" idx="13"/>
          </p:nvPr>
        </p:nvSpPr>
        <p:spPr>
          <a:xfrm>
            <a:off x="838200" y="1236950"/>
            <a:ext cx="10515601" cy="560387"/>
          </a:xfrm>
        </p:spPr>
        <p:txBody>
          <a:bodyPr/>
          <a:lstStyle>
            <a:lvl1pPr marL="0" indent="0">
              <a:buNone/>
              <a:defRPr>
                <a:solidFill>
                  <a:schemeClr val="tx2"/>
                </a:solidFill>
              </a:defRPr>
            </a:lvl1pPr>
          </a:lstStyle>
          <a:p>
            <a:pPr lvl="0"/>
            <a:r>
              <a:rPr lang="en-US" dirty="0"/>
              <a:t>Click to edit Master text styles</a:t>
            </a:r>
          </a:p>
        </p:txBody>
      </p:sp>
      <p:sp>
        <p:nvSpPr>
          <p:cNvPr id="5" name="Date Placeholder 4">
            <a:extLst>
              <a:ext uri="{FF2B5EF4-FFF2-40B4-BE49-F238E27FC236}">
                <a16:creationId xmlns:a16="http://schemas.microsoft.com/office/drawing/2014/main" id="{1E8F74D8-57EA-4C69-B359-838AD415B40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a16="http://schemas.microsoft.com/office/drawing/2014/main" id="{EF37BE92-4D1A-4D79-BBE9-E1F512A3DF30}"/>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a16="http://schemas.microsoft.com/office/drawing/2014/main" id="{DE1F6A32-A2B4-4256-A0DE-24E39C2EA1D7}"/>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2529157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8CE261F-35DC-4D96-AAE0-4EEAED47C2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Object 11" hidden="1">
                        <a:extLst>
                          <a:ext uri="{FF2B5EF4-FFF2-40B4-BE49-F238E27FC236}">
                            <a16:creationId xmlns:a16="http://schemas.microsoft.com/office/drawing/2014/main" id="{38CE261F-35DC-4D96-AAE0-4EEAED47C2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197601" y="123444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197601" y="2196445"/>
            <a:ext cx="5157787"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839788" y="123444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839788" y="2196445"/>
            <a:ext cx="5183188"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a16="http://schemas.microsoft.com/office/drawing/2014/main" id="{C0D843B3-33E8-4DD6-94A6-E166A79C85F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0" name="Footer Placeholder 9">
            <a:extLst>
              <a:ext uri="{FF2B5EF4-FFF2-40B4-BE49-F238E27FC236}">
                <a16:creationId xmlns:a16="http://schemas.microsoft.com/office/drawing/2014/main" id="{4E149936-A52B-4BE0-A574-2E7E5E3ED214}"/>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6" name="Slide Number Placeholder 15">
            <a:extLst>
              <a:ext uri="{FF2B5EF4-FFF2-40B4-BE49-F238E27FC236}">
                <a16:creationId xmlns:a16="http://schemas.microsoft.com/office/drawing/2014/main" id="{02506FC7-AB31-42F5-95CD-5DFD956FB50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7" name="Title 6">
            <a:extLst>
              <a:ext uri="{FF2B5EF4-FFF2-40B4-BE49-F238E27FC236}">
                <a16:creationId xmlns:a16="http://schemas.microsoft.com/office/drawing/2014/main" id="{966A1D7D-0D3A-4CE0-A9C4-BAB1B70C043A}"/>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3102653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2714FB-DD0F-4F4F-9E30-D635F5F3673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762714FB-DD0F-4F4F-9E30-D635F5F367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b"/>
          <a:lstStyle/>
          <a:p>
            <a:r>
              <a:rPr lang="en-US" dirty="0"/>
              <a:t>Click to edit Master title style</a:t>
            </a:r>
          </a:p>
        </p:txBody>
      </p:sp>
      <p:sp>
        <p:nvSpPr>
          <p:cNvPr id="3" name="Date Placeholder 2">
            <a:extLst>
              <a:ext uri="{FF2B5EF4-FFF2-40B4-BE49-F238E27FC236}">
                <a16:creationId xmlns:a16="http://schemas.microsoft.com/office/drawing/2014/main" id="{A948E429-7890-4ADC-856E-FFC0768D2F8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4" name="Footer Placeholder 3">
            <a:extLst>
              <a:ext uri="{FF2B5EF4-FFF2-40B4-BE49-F238E27FC236}">
                <a16:creationId xmlns:a16="http://schemas.microsoft.com/office/drawing/2014/main" id="{770977C7-CE04-4FFA-9E04-89C700B4D00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5" name="Slide Number Placeholder 4">
            <a:extLst>
              <a:ext uri="{FF2B5EF4-FFF2-40B4-BE49-F238E27FC236}">
                <a16:creationId xmlns:a16="http://schemas.microsoft.com/office/drawing/2014/main" id="{5AF0029C-C0A2-4530-85A1-A5602AAA128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107743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30516"/>
          <a:stretch/>
        </p:blipFill>
        <p:spPr>
          <a:xfrm>
            <a:off x="4558747" y="3"/>
            <a:ext cx="7633252" cy="1380149"/>
          </a:xfrm>
          <a:prstGeom prst="rect">
            <a:avLst/>
          </a:prstGeom>
        </p:spPr>
      </p:pic>
      <p:sp>
        <p:nvSpPr>
          <p:cNvPr id="10" name="Date Placeholder 9">
            <a:extLst>
              <a:ext uri="{FF2B5EF4-FFF2-40B4-BE49-F238E27FC236}">
                <a16:creationId xmlns:a16="http://schemas.microsoft.com/office/drawing/2014/main" id="{79175504-6FC4-454E-A907-62DDA62F4288}"/>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a16="http://schemas.microsoft.com/office/drawing/2014/main" id="{61AE0480-9DA5-4CF1-8BCF-A9FBF0DA7D37}"/>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a16="http://schemas.microsoft.com/office/drawing/2014/main" id="{54897DDC-3EA8-4AC3-B9D4-605FA256BF1B}"/>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88263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000CCE0-356C-4BFD-B360-A76D4443B80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1000CCE0-356C-4BFD-B360-A76D4443B8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183188" y="1074875"/>
            <a:ext cx="6172200" cy="487362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12EE1063-2BAE-46CF-B8D2-9A7755E0914C}"/>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a16="http://schemas.microsoft.com/office/drawing/2014/main" id="{EE18E49A-156B-4473-91F6-F4E7F23D3B1A}"/>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a16="http://schemas.microsoft.com/office/drawing/2014/main" id="{8314FCAA-E22F-4AC3-98E2-1D98D153A966}"/>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11" name="Title 1">
            <a:extLst>
              <a:ext uri="{FF2B5EF4-FFF2-40B4-BE49-F238E27FC236}">
                <a16:creationId xmlns:a16="http://schemas.microsoft.com/office/drawing/2014/main" id="{80C03059-6627-44A5-8825-89497F5C43C4}"/>
              </a:ext>
            </a:extLst>
          </p:cNvPr>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C8E26E14-0F1B-4560-B13F-148B8E417308}"/>
              </a:ext>
            </a:extLst>
          </p:cNvPr>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559037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EE20EDC-0E92-43B0-A8EB-090C67C5C95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EEE20EDC-0E92-43B0-A8EB-090C67C5C9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1602" y="1074878"/>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Date Placeholder 8">
            <a:extLst>
              <a:ext uri="{FF2B5EF4-FFF2-40B4-BE49-F238E27FC236}">
                <a16:creationId xmlns:a16="http://schemas.microsoft.com/office/drawing/2014/main" id="{CB1D20F5-87E7-45BB-B690-166E416AD6C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a16="http://schemas.microsoft.com/office/drawing/2014/main" id="{CF302F3F-120B-4296-A4ED-301C3D46B1B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a16="http://schemas.microsoft.com/office/drawing/2014/main" id="{14B0737E-9AD9-463A-8438-938FD1DF0470}"/>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8036923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C0CB1AA-1111-4827-98E8-CCCD13034AB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FC0CB1AA-1111-4827-98E8-CCCD13034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770B6B68-C168-4E82-99D8-502BB6B1929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8" name="Footer Placeholder 7">
            <a:extLst>
              <a:ext uri="{FF2B5EF4-FFF2-40B4-BE49-F238E27FC236}">
                <a16:creationId xmlns:a16="http://schemas.microsoft.com/office/drawing/2014/main" id="{FC31D32E-D90A-4BE2-8C02-E0B1F46E0413}"/>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9" name="Slide Number Placeholder 8">
            <a:extLst>
              <a:ext uri="{FF2B5EF4-FFF2-40B4-BE49-F238E27FC236}">
                <a16:creationId xmlns:a16="http://schemas.microsoft.com/office/drawing/2014/main" id="{B8798091-33BB-4D9F-98D7-7A67DA7090BD}"/>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30013975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0F1C9F-3B0F-704D-BB0B-0F61B4DA9711}"/>
              </a:ext>
            </a:extLst>
          </p:cNvPr>
          <p:cNvPicPr>
            <a:picLocks noChangeAspect="1"/>
          </p:cNvPicPr>
          <p:nvPr userDrawn="1"/>
        </p:nvPicPr>
        <p:blipFill>
          <a:blip r:embed="rId5"/>
          <a:stretch>
            <a:fillRect/>
          </a:stretch>
        </p:blipFill>
        <p:spPr>
          <a:xfrm>
            <a:off x="0" y="3238500"/>
            <a:ext cx="6007100" cy="3619500"/>
          </a:xfrm>
          <a:prstGeom prst="rect">
            <a:avLst/>
          </a:prstGeom>
        </p:spPr>
      </p:pic>
      <p:pic>
        <p:nvPicPr>
          <p:cNvPr id="9" name="Picture 8">
            <a:extLst>
              <a:ext uri="{FF2B5EF4-FFF2-40B4-BE49-F238E27FC236}">
                <a16:creationId xmlns:a16="http://schemas.microsoft.com/office/drawing/2014/main" id="{FD78183D-F4E4-F64A-A039-C983F502FE0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79168" t="19941" r="94" b="17798"/>
          <a:stretch/>
        </p:blipFill>
        <p:spPr>
          <a:xfrm>
            <a:off x="1222734" y="2875965"/>
            <a:ext cx="2046213" cy="1842914"/>
          </a:xfrm>
          <a:prstGeom prst="rect">
            <a:avLst/>
          </a:prstGeom>
        </p:spPr>
      </p:pic>
      <p:pic>
        <p:nvPicPr>
          <p:cNvPr id="10" name="Picture 9">
            <a:extLst>
              <a:ext uri="{FF2B5EF4-FFF2-40B4-BE49-F238E27FC236}">
                <a16:creationId xmlns:a16="http://schemas.microsoft.com/office/drawing/2014/main" id="{C1EF61B6-F929-0048-8450-8258C6E3F75B}"/>
              </a:ext>
            </a:extLst>
          </p:cNvPr>
          <p:cNvPicPr>
            <a:picLocks noChangeAspect="1"/>
          </p:cNvPicPr>
          <p:nvPr userDrawn="1"/>
        </p:nvPicPr>
        <p:blipFill rotWithShape="1">
          <a:blip r:embed="rId7" cstate="print">
            <a:duotone>
              <a:srgbClr val="EEECE1">
                <a:shade val="45000"/>
                <a:satMod val="135000"/>
              </a:srgbClr>
              <a:prstClr val="white"/>
            </a:duotone>
            <a:extLst>
              <a:ext uri="{28A0092B-C50C-407E-A947-70E740481C1C}">
                <a14:useLocalDpi xmlns:a14="http://schemas.microsoft.com/office/drawing/2010/main" val="0"/>
              </a:ext>
            </a:extLst>
          </a:blip>
          <a:srcRect r="307"/>
          <a:stretch/>
        </p:blipFill>
        <p:spPr>
          <a:xfrm>
            <a:off x="0" y="-5947"/>
            <a:ext cx="12192000" cy="3752033"/>
          </a:xfrm>
          <a:prstGeom prst="rect">
            <a:avLst/>
          </a:prstGeom>
        </p:spPr>
      </p:pic>
      <p:sp>
        <p:nvSpPr>
          <p:cNvPr id="11" name="Text Placeholder 13">
            <a:extLst>
              <a:ext uri="{FF2B5EF4-FFF2-40B4-BE49-F238E27FC236}">
                <a16:creationId xmlns:a16="http://schemas.microsoft.com/office/drawing/2014/main" id="{A87AC21A-AA41-394A-8F77-0D45DBAC6439}"/>
              </a:ext>
            </a:extLst>
          </p:cNvPr>
          <p:cNvSpPr>
            <a:spLocks noGrp="1"/>
          </p:cNvSpPr>
          <p:nvPr>
            <p:ph type="body" sz="quarter" idx="16" hasCustomPrompt="1"/>
          </p:nvPr>
        </p:nvSpPr>
        <p:spPr>
          <a:xfrm>
            <a:off x="4661562" y="6538495"/>
            <a:ext cx="3311525" cy="193899"/>
          </a:xfrm>
        </p:spPr>
        <p:txBody>
          <a:bodyPr anchor="b" anchorCtr="0"/>
          <a:lstStyle>
            <a:lvl1pPr marL="0" indent="0">
              <a:spcBef>
                <a:spcPts val="0"/>
              </a:spcBef>
              <a:buNone/>
              <a:defRPr sz="1400"/>
            </a:lvl1pPr>
            <a:lvl2pPr marL="182880" indent="0">
              <a:buNone/>
              <a:defRPr sz="1000"/>
            </a:lvl2pPr>
            <a:lvl3pPr marL="323238" indent="0">
              <a:buNone/>
              <a:defRPr sz="1000"/>
            </a:lvl3pPr>
            <a:lvl4pPr marL="510840" indent="0">
              <a:buNone/>
              <a:defRPr sz="1000"/>
            </a:lvl4pPr>
            <a:lvl5pPr marL="655200" indent="0">
              <a:buNone/>
              <a:defRPr sz="1000"/>
            </a:lvl5pPr>
          </a:lstStyle>
          <a:p>
            <a:pPr lvl="0"/>
            <a:r>
              <a:rPr lang="en-US" dirty="0"/>
              <a:t>Author(s) here</a:t>
            </a:r>
          </a:p>
        </p:txBody>
      </p:sp>
      <p:sp>
        <p:nvSpPr>
          <p:cNvPr id="12" name="Text Placeholder 8">
            <a:extLst>
              <a:ext uri="{FF2B5EF4-FFF2-40B4-BE49-F238E27FC236}">
                <a16:creationId xmlns:a16="http://schemas.microsoft.com/office/drawing/2014/main" id="{3C010D1D-CF0F-DD4B-A383-D005BC0778CE}"/>
              </a:ext>
            </a:extLst>
          </p:cNvPr>
          <p:cNvSpPr>
            <a:spLocks noGrp="1"/>
          </p:cNvSpPr>
          <p:nvPr>
            <p:ph type="body" sz="quarter" idx="15" hasCustomPrompt="1"/>
            <p:custDataLst>
              <p:tags r:id="rId1"/>
            </p:custDataLst>
          </p:nvPr>
        </p:nvSpPr>
        <p:spPr>
          <a:xfrm>
            <a:off x="4649422" y="6133867"/>
            <a:ext cx="3967917" cy="193899"/>
          </a:xfrm>
          <a:noFill/>
          <a:ln w="6350" cap="flat">
            <a:noFill/>
          </a:ln>
        </p:spPr>
        <p:txBody>
          <a:bodyPr vert="horz" wrap="square" lIns="0" tIns="0" rIns="0" bIns="0" rtlCol="0">
            <a:spAutoFit/>
          </a:bodyPr>
          <a:lstStyle>
            <a:lvl1pPr marL="180000" indent="-180000">
              <a:buNone/>
              <a:defRPr lang="en-US" sz="1400" baseline="0" smtClean="0"/>
            </a:lvl1pPr>
            <a:lvl2pPr>
              <a:defRPr lang="en-US" smtClean="0"/>
            </a:lvl2pPr>
            <a:lvl3pPr>
              <a:defRPr lang="en-US" smtClean="0"/>
            </a:lvl3pPr>
            <a:lvl4pPr>
              <a:defRPr lang="en-US" smtClean="0"/>
            </a:lvl4pPr>
            <a:lvl5pPr>
              <a:defRPr lang="en-US"/>
            </a:lvl5pPr>
          </a:lstStyle>
          <a:p>
            <a:r>
              <a:rPr lang="en-US" dirty="0"/>
              <a:t>Date here</a:t>
            </a:r>
          </a:p>
        </p:txBody>
      </p:sp>
      <p:sp>
        <p:nvSpPr>
          <p:cNvPr id="13" name="Text Placeholder 8">
            <a:extLst>
              <a:ext uri="{FF2B5EF4-FFF2-40B4-BE49-F238E27FC236}">
                <a16:creationId xmlns:a16="http://schemas.microsoft.com/office/drawing/2014/main" id="{37F49A0C-45E6-B346-9BAA-19764B3E4C17}"/>
              </a:ext>
            </a:extLst>
          </p:cNvPr>
          <p:cNvSpPr>
            <a:spLocks noGrp="1"/>
          </p:cNvSpPr>
          <p:nvPr>
            <p:ph type="body" sz="quarter" idx="12" hasCustomPrompt="1"/>
            <p:custDataLst>
              <p:tags r:id="rId2"/>
            </p:custDataLst>
          </p:nvPr>
        </p:nvSpPr>
        <p:spPr>
          <a:xfrm>
            <a:off x="4649422" y="5918509"/>
            <a:ext cx="3966838" cy="193899"/>
          </a:xfrm>
          <a:noFill/>
          <a:ln w="6350" cap="flat">
            <a:noFill/>
          </a:ln>
        </p:spPr>
        <p:txBody>
          <a:bodyPr/>
          <a:lstStyle>
            <a:lvl1pPr marL="0" indent="0">
              <a:spcBef>
                <a:spcPts val="0"/>
              </a:spcBef>
              <a:buFontTx/>
              <a:buNone/>
              <a:defRPr sz="1400" baseline="0"/>
            </a:lvl1pPr>
          </a:lstStyle>
          <a:p>
            <a:r>
              <a:rPr lang="en-US" dirty="0"/>
              <a:t>Report type here</a:t>
            </a:r>
          </a:p>
        </p:txBody>
      </p:sp>
      <p:sp>
        <p:nvSpPr>
          <p:cNvPr id="14" name="Title 1">
            <a:extLst>
              <a:ext uri="{FF2B5EF4-FFF2-40B4-BE49-F238E27FC236}">
                <a16:creationId xmlns:a16="http://schemas.microsoft.com/office/drawing/2014/main" id="{119D9977-9665-A148-A1EB-0CA0A25693B6}"/>
              </a:ext>
            </a:extLst>
          </p:cNvPr>
          <p:cNvSpPr>
            <a:spLocks noGrp="1"/>
          </p:cNvSpPr>
          <p:nvPr>
            <p:ph type="ctrTitle" hasCustomPrompt="1"/>
            <p:custDataLst>
              <p:tags r:id="rId3"/>
            </p:custDataLst>
          </p:nvPr>
        </p:nvSpPr>
        <p:spPr>
          <a:xfrm>
            <a:off x="3563889" y="4903653"/>
            <a:ext cx="5863322" cy="498598"/>
          </a:xfrm>
          <a:prstGeom prst="rect">
            <a:avLst/>
          </a:prstGeom>
          <a:noFill/>
          <a:ln w="6350" cap="flat">
            <a:noFill/>
          </a:ln>
        </p:spPr>
        <p:txBody>
          <a:bodyPr/>
          <a:lstStyle>
            <a:lvl1pPr algn="l">
              <a:lnSpc>
                <a:spcPct val="90000"/>
              </a:lnSpc>
              <a:defRPr sz="3600" b="0" baseline="0">
                <a:solidFill>
                  <a:srgbClr val="048962"/>
                </a:solidFill>
                <a:latin typeface="Arial" pitchFamily="34" charset="0"/>
                <a:cs typeface="Arial" pitchFamily="34" charset="0"/>
              </a:defRPr>
            </a:lvl1pPr>
          </a:lstStyle>
          <a:p>
            <a:r>
              <a:rPr lang="en-US" dirty="0"/>
              <a:t>Presentation title here</a:t>
            </a:r>
          </a:p>
        </p:txBody>
      </p:sp>
    </p:spTree>
    <p:extLst>
      <p:ext uri="{BB962C8B-B14F-4D97-AF65-F5344CB8AC3E}">
        <p14:creationId xmlns:p14="http://schemas.microsoft.com/office/powerpoint/2010/main" val="25815897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335AC8-34F2-429E-AD26-9E23348554CC}"/>
              </a:ext>
            </a:extLst>
          </p:cNvPr>
          <p:cNvGrpSpPr/>
          <p:nvPr userDrawn="1"/>
        </p:nvGrpSpPr>
        <p:grpSpPr>
          <a:xfrm>
            <a:off x="1181946" y="843713"/>
            <a:ext cx="6421525" cy="5146558"/>
            <a:chOff x="1181946" y="843713"/>
            <a:chExt cx="6421525" cy="5146558"/>
          </a:xfrm>
        </p:grpSpPr>
        <p:sp>
          <p:nvSpPr>
            <p:cNvPr id="90" name="Oval 89">
              <a:extLst>
                <a:ext uri="{FF2B5EF4-FFF2-40B4-BE49-F238E27FC236}">
                  <a16:creationId xmlns:a16="http://schemas.microsoft.com/office/drawing/2014/main" id="{87B9FA51-C88F-4C9A-9168-29EA9B508202}"/>
                </a:ext>
              </a:extLst>
            </p:cNvPr>
            <p:cNvSpPr/>
            <p:nvPr userDrawn="1"/>
          </p:nvSpPr>
          <p:spPr>
            <a:xfrm>
              <a:off x="1635071" y="2757053"/>
              <a:ext cx="2684575" cy="267334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9" name="Oval 88">
              <a:extLst>
                <a:ext uri="{FF2B5EF4-FFF2-40B4-BE49-F238E27FC236}">
                  <a16:creationId xmlns:a16="http://schemas.microsoft.com/office/drawing/2014/main" id="{D4431040-A5EA-41DF-8E63-A50F1DA46A55}"/>
                </a:ext>
              </a:extLst>
            </p:cNvPr>
            <p:cNvSpPr/>
            <p:nvPr userDrawn="1"/>
          </p:nvSpPr>
          <p:spPr>
            <a:xfrm>
              <a:off x="1816045" y="2937269"/>
              <a:ext cx="2322627" cy="2312908"/>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A4D446C6-4F21-4A7E-ADE1-DF3C7517C519}"/>
                </a:ext>
              </a:extLst>
            </p:cNvPr>
            <p:cNvSpPr/>
            <p:nvPr/>
          </p:nvSpPr>
          <p:spPr>
            <a:xfrm>
              <a:off x="2008772" y="3129190"/>
              <a:ext cx="1937172" cy="1929066"/>
            </a:xfrm>
            <a:prstGeom prst="ellipse">
              <a:avLst/>
            </a:prstGeom>
            <a:gradFill>
              <a:gsLst>
                <a:gs pos="2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a16="http://schemas.microsoft.com/office/drawing/2014/main" id="{A118E6C3-E6BC-4FB2-B49F-B25D904F8CD3}"/>
                </a:ext>
              </a:extLst>
            </p:cNvPr>
            <p:cNvSpPr/>
            <p:nvPr userDrawn="1"/>
          </p:nvSpPr>
          <p:spPr>
            <a:xfrm>
              <a:off x="5638490" y="3455422"/>
              <a:ext cx="1922517" cy="2534849"/>
            </a:xfrm>
            <a:custGeom>
              <a:avLst/>
              <a:gdLst>
                <a:gd name="connsiteX0" fmla="*/ 217944 w 1794372"/>
                <a:gd name="connsiteY0" fmla="*/ 0 h 2365889"/>
                <a:gd name="connsiteX1" fmla="*/ 1576427 w 1794372"/>
                <a:gd name="connsiteY1" fmla="*/ 0 h 2365889"/>
                <a:gd name="connsiteX2" fmla="*/ 1794372 w 1794372"/>
                <a:gd name="connsiteY2" fmla="*/ 217945 h 2365889"/>
                <a:gd name="connsiteX3" fmla="*/ 1794372 w 1794372"/>
                <a:gd name="connsiteY3" fmla="*/ 2147944 h 2365889"/>
                <a:gd name="connsiteX4" fmla="*/ 1576427 w 1794372"/>
                <a:gd name="connsiteY4" fmla="*/ 2365889 h 2365889"/>
                <a:gd name="connsiteX5" fmla="*/ 217944 w 1794372"/>
                <a:gd name="connsiteY5" fmla="*/ 2365889 h 2365889"/>
                <a:gd name="connsiteX6" fmla="*/ 0 w 1794372"/>
                <a:gd name="connsiteY6" fmla="*/ 2147944 h 2365889"/>
                <a:gd name="connsiteX7" fmla="*/ 0 w 1794372"/>
                <a:gd name="connsiteY7" fmla="*/ 217945 h 2365889"/>
                <a:gd name="connsiteX8" fmla="*/ 217944 w 1794372"/>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2" h="2365889">
                  <a:moveTo>
                    <a:pt x="217944" y="0"/>
                  </a:moveTo>
                  <a:lnTo>
                    <a:pt x="1576427" y="0"/>
                  </a:lnTo>
                  <a:cubicBezTo>
                    <a:pt x="1696795" y="0"/>
                    <a:pt x="1794372" y="97577"/>
                    <a:pt x="1794372" y="217945"/>
                  </a:cubicBezTo>
                  <a:lnTo>
                    <a:pt x="1794372" y="2147944"/>
                  </a:lnTo>
                  <a:cubicBezTo>
                    <a:pt x="1794372" y="2268312"/>
                    <a:pt x="1696795" y="2365889"/>
                    <a:pt x="1576427" y="2365889"/>
                  </a:cubicBezTo>
                  <a:lnTo>
                    <a:pt x="217944" y="2365889"/>
                  </a:lnTo>
                  <a:cubicBezTo>
                    <a:pt x="97576" y="2365889"/>
                    <a:pt x="0" y="2268312"/>
                    <a:pt x="0" y="2147944"/>
                  </a:cubicBezTo>
                  <a:lnTo>
                    <a:pt x="0" y="217945"/>
                  </a:lnTo>
                  <a:cubicBezTo>
                    <a:pt x="0" y="97577"/>
                    <a:pt x="97576" y="0"/>
                    <a:pt x="217944"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5" name="Freeform: Shape 44">
              <a:extLst>
                <a:ext uri="{FF2B5EF4-FFF2-40B4-BE49-F238E27FC236}">
                  <a16:creationId xmlns:a16="http://schemas.microsoft.com/office/drawing/2014/main" id="{456EFF9A-A7D4-4F98-937A-311AD8BA4969}"/>
                </a:ext>
              </a:extLst>
            </p:cNvPr>
            <p:cNvSpPr/>
            <p:nvPr userDrawn="1"/>
          </p:nvSpPr>
          <p:spPr>
            <a:xfrm>
              <a:off x="3340104" y="3455422"/>
              <a:ext cx="1922518" cy="2534849"/>
            </a:xfrm>
            <a:custGeom>
              <a:avLst/>
              <a:gdLst>
                <a:gd name="connsiteX0" fmla="*/ 217945 w 1794373"/>
                <a:gd name="connsiteY0" fmla="*/ 0 h 2365889"/>
                <a:gd name="connsiteX1" fmla="*/ 1576429 w 1794373"/>
                <a:gd name="connsiteY1" fmla="*/ 0 h 2365889"/>
                <a:gd name="connsiteX2" fmla="*/ 1794373 w 1794373"/>
                <a:gd name="connsiteY2" fmla="*/ 217945 h 2365889"/>
                <a:gd name="connsiteX3" fmla="*/ 1794373 w 1794373"/>
                <a:gd name="connsiteY3" fmla="*/ 2147944 h 2365889"/>
                <a:gd name="connsiteX4" fmla="*/ 1576429 w 1794373"/>
                <a:gd name="connsiteY4" fmla="*/ 2365889 h 2365889"/>
                <a:gd name="connsiteX5" fmla="*/ 217945 w 1794373"/>
                <a:gd name="connsiteY5" fmla="*/ 2365889 h 2365889"/>
                <a:gd name="connsiteX6" fmla="*/ 0 w 1794373"/>
                <a:gd name="connsiteY6" fmla="*/ 2147944 h 2365889"/>
                <a:gd name="connsiteX7" fmla="*/ 0 w 1794373"/>
                <a:gd name="connsiteY7" fmla="*/ 217945 h 2365889"/>
                <a:gd name="connsiteX8" fmla="*/ 217945 w 1794373"/>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3" h="2365889">
                  <a:moveTo>
                    <a:pt x="217945" y="0"/>
                  </a:moveTo>
                  <a:lnTo>
                    <a:pt x="1576429" y="0"/>
                  </a:lnTo>
                  <a:cubicBezTo>
                    <a:pt x="1696796" y="0"/>
                    <a:pt x="1794373" y="97577"/>
                    <a:pt x="1794373" y="217945"/>
                  </a:cubicBezTo>
                  <a:lnTo>
                    <a:pt x="1794373" y="2147944"/>
                  </a:lnTo>
                  <a:cubicBezTo>
                    <a:pt x="1794373" y="2268312"/>
                    <a:pt x="1696796" y="2365889"/>
                    <a:pt x="1576429" y="2365889"/>
                  </a:cubicBezTo>
                  <a:lnTo>
                    <a:pt x="217945" y="2365889"/>
                  </a:lnTo>
                  <a:cubicBezTo>
                    <a:pt x="97577" y="2365889"/>
                    <a:pt x="0" y="2268312"/>
                    <a:pt x="0" y="2147944"/>
                  </a:cubicBezTo>
                  <a:lnTo>
                    <a:pt x="0" y="217945"/>
                  </a:lnTo>
                  <a:cubicBezTo>
                    <a:pt x="0" y="97577"/>
                    <a:pt x="97577" y="0"/>
                    <a:pt x="217945"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a16="http://schemas.microsoft.com/office/drawing/2014/main" id="{D7817152-6206-4718-AD82-24FF26FFD4C5}"/>
                </a:ext>
              </a:extLst>
            </p:cNvPr>
            <p:cNvSpPr/>
            <p:nvPr userDrawn="1"/>
          </p:nvSpPr>
          <p:spPr>
            <a:xfrm>
              <a:off x="3242133" y="843713"/>
              <a:ext cx="4361338" cy="2192282"/>
            </a:xfrm>
            <a:custGeom>
              <a:avLst/>
              <a:gdLst>
                <a:gd name="connsiteX0" fmla="*/ 248526 w 4070635"/>
                <a:gd name="connsiteY0" fmla="*/ 0 h 2046156"/>
                <a:gd name="connsiteX1" fmla="*/ 3822109 w 4070635"/>
                <a:gd name="connsiteY1" fmla="*/ 0 h 2046156"/>
                <a:gd name="connsiteX2" fmla="*/ 4070635 w 4070635"/>
                <a:gd name="connsiteY2" fmla="*/ 248526 h 2046156"/>
                <a:gd name="connsiteX3" fmla="*/ 4070635 w 4070635"/>
                <a:gd name="connsiteY3" fmla="*/ 1797630 h 2046156"/>
                <a:gd name="connsiteX4" fmla="*/ 3822109 w 4070635"/>
                <a:gd name="connsiteY4" fmla="*/ 2046156 h 2046156"/>
                <a:gd name="connsiteX5" fmla="*/ 248526 w 4070635"/>
                <a:gd name="connsiteY5" fmla="*/ 2046156 h 2046156"/>
                <a:gd name="connsiteX6" fmla="*/ 0 w 4070635"/>
                <a:gd name="connsiteY6" fmla="*/ 1797630 h 2046156"/>
                <a:gd name="connsiteX7" fmla="*/ 0 w 4070635"/>
                <a:gd name="connsiteY7" fmla="*/ 248526 h 2046156"/>
                <a:gd name="connsiteX8" fmla="*/ 248526 w 4070635"/>
                <a:gd name="connsiteY8" fmla="*/ 0 h 204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0635" h="2046156">
                  <a:moveTo>
                    <a:pt x="248526" y="0"/>
                  </a:moveTo>
                  <a:lnTo>
                    <a:pt x="3822109" y="0"/>
                  </a:lnTo>
                  <a:cubicBezTo>
                    <a:pt x="3959366" y="0"/>
                    <a:pt x="4070635" y="111269"/>
                    <a:pt x="4070635" y="248526"/>
                  </a:cubicBezTo>
                  <a:lnTo>
                    <a:pt x="4070635" y="1797630"/>
                  </a:lnTo>
                  <a:cubicBezTo>
                    <a:pt x="4070635" y="1934887"/>
                    <a:pt x="3959366" y="2046156"/>
                    <a:pt x="3822109" y="2046156"/>
                  </a:cubicBezTo>
                  <a:lnTo>
                    <a:pt x="248526" y="2046156"/>
                  </a:lnTo>
                  <a:cubicBezTo>
                    <a:pt x="111269" y="2046156"/>
                    <a:pt x="0" y="1934887"/>
                    <a:pt x="0" y="1797630"/>
                  </a:cubicBezTo>
                  <a:lnTo>
                    <a:pt x="0" y="248526"/>
                  </a:lnTo>
                  <a:cubicBezTo>
                    <a:pt x="0" y="111269"/>
                    <a:pt x="111269" y="0"/>
                    <a:pt x="248526"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7" name="Freeform: Shape 46">
              <a:extLst>
                <a:ext uri="{FF2B5EF4-FFF2-40B4-BE49-F238E27FC236}">
                  <a16:creationId xmlns:a16="http://schemas.microsoft.com/office/drawing/2014/main" id="{75AE763D-1297-47E6-B54D-64841779B493}"/>
                </a:ext>
              </a:extLst>
            </p:cNvPr>
            <p:cNvSpPr/>
            <p:nvPr userDrawn="1"/>
          </p:nvSpPr>
          <p:spPr>
            <a:xfrm>
              <a:off x="1181946" y="1779205"/>
              <a:ext cx="1848177" cy="2607575"/>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53" name="Picture Placeholder 3">
            <a:extLst>
              <a:ext uri="{FF2B5EF4-FFF2-40B4-BE49-F238E27FC236}">
                <a16:creationId xmlns:a16="http://schemas.microsoft.com/office/drawing/2014/main" id="{5D490F91-8DD6-41AA-B2BB-5B4104F574D3}"/>
              </a:ext>
            </a:extLst>
          </p:cNvPr>
          <p:cNvSpPr>
            <a:spLocks noGrp="1"/>
          </p:cNvSpPr>
          <p:nvPr userDrawn="1">
            <p:ph type="pic" sz="quarter" idx="10"/>
          </p:nvPr>
        </p:nvSpPr>
        <p:spPr>
          <a:xfrm>
            <a:off x="1281411" y="1919539"/>
            <a:ext cx="1649246" cy="2326906"/>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4" name="Picture Placeholder 3">
            <a:extLst>
              <a:ext uri="{FF2B5EF4-FFF2-40B4-BE49-F238E27FC236}">
                <a16:creationId xmlns:a16="http://schemas.microsoft.com/office/drawing/2014/main" id="{4B86B99C-9F20-426A-93BE-6B07FB7F7B2B}"/>
              </a:ext>
            </a:extLst>
          </p:cNvPr>
          <p:cNvSpPr>
            <a:spLocks noGrp="1"/>
          </p:cNvSpPr>
          <p:nvPr userDrawn="1">
            <p:ph type="pic" sz="quarter" idx="11"/>
          </p:nvPr>
        </p:nvSpPr>
        <p:spPr>
          <a:xfrm>
            <a:off x="5741956"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5" name="Picture Placeholder 3">
            <a:extLst>
              <a:ext uri="{FF2B5EF4-FFF2-40B4-BE49-F238E27FC236}">
                <a16:creationId xmlns:a16="http://schemas.microsoft.com/office/drawing/2014/main" id="{5794FD1B-7F6B-4D38-A71B-10820B4BF648}"/>
              </a:ext>
            </a:extLst>
          </p:cNvPr>
          <p:cNvSpPr>
            <a:spLocks noGrp="1"/>
          </p:cNvSpPr>
          <p:nvPr userDrawn="1">
            <p:ph type="pic" sz="quarter" idx="12"/>
          </p:nvPr>
        </p:nvSpPr>
        <p:spPr>
          <a:xfrm>
            <a:off x="3443571"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6" name="Picture Placeholder 3">
            <a:extLst>
              <a:ext uri="{FF2B5EF4-FFF2-40B4-BE49-F238E27FC236}">
                <a16:creationId xmlns:a16="http://schemas.microsoft.com/office/drawing/2014/main" id="{6E4F1BCB-1ECA-468D-BD8E-171B94577745}"/>
              </a:ext>
            </a:extLst>
          </p:cNvPr>
          <p:cNvSpPr>
            <a:spLocks noGrp="1"/>
          </p:cNvSpPr>
          <p:nvPr userDrawn="1">
            <p:ph type="pic" sz="quarter" idx="13"/>
          </p:nvPr>
        </p:nvSpPr>
        <p:spPr>
          <a:xfrm>
            <a:off x="3408478" y="961698"/>
            <a:ext cx="4028648" cy="19563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0963720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BBE9010F-8AC1-4EB6-99AD-6D56C56B3EAC}"/>
              </a:ext>
            </a:extLst>
          </p:cNvPr>
          <p:cNvSpPr>
            <a:spLocks noGrp="1"/>
          </p:cNvSpPr>
          <p:nvPr>
            <p:ph type="pic" sz="quarter" idx="10"/>
          </p:nvPr>
        </p:nvSpPr>
        <p:spPr>
          <a:xfrm>
            <a:off x="8164117" y="1335182"/>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a16="http://schemas.microsoft.com/office/drawing/2014/main" id="{173B400D-885F-4CC4-AA62-ADCA2FA89194}"/>
              </a:ext>
            </a:extLst>
          </p:cNvPr>
          <p:cNvSpPr>
            <a:spLocks noGrp="1"/>
          </p:cNvSpPr>
          <p:nvPr>
            <p:ph type="pic" sz="quarter" idx="12"/>
          </p:nvPr>
        </p:nvSpPr>
        <p:spPr>
          <a:xfrm>
            <a:off x="4184270" y="-23529"/>
            <a:ext cx="3055365" cy="6881529"/>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2" name="Picture Placeholder 3">
            <a:extLst>
              <a:ext uri="{FF2B5EF4-FFF2-40B4-BE49-F238E27FC236}">
                <a16:creationId xmlns:a16="http://schemas.microsoft.com/office/drawing/2014/main" id="{6BC730DA-4E87-439F-9626-CEB9301890C4}"/>
              </a:ext>
            </a:extLst>
          </p:cNvPr>
          <p:cNvSpPr>
            <a:spLocks noGrp="1"/>
          </p:cNvSpPr>
          <p:nvPr>
            <p:ph type="pic" sz="quarter" idx="13"/>
          </p:nvPr>
        </p:nvSpPr>
        <p:spPr>
          <a:xfrm>
            <a:off x="8164117" y="3813243"/>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941982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2" name="Picture Placeholder 41">
            <a:extLst>
              <a:ext uri="{FF2B5EF4-FFF2-40B4-BE49-F238E27FC236}">
                <a16:creationId xmlns:a16="http://schemas.microsoft.com/office/drawing/2014/main" id="{B4FC6F71-573F-4A9E-93BD-CEE835857EFB}"/>
              </a:ext>
            </a:extLst>
          </p:cNvPr>
          <p:cNvSpPr>
            <a:spLocks noGrp="1"/>
          </p:cNvSpPr>
          <p:nvPr>
            <p:ph type="pic" sz="quarter" idx="10"/>
          </p:nvPr>
        </p:nvSpPr>
        <p:spPr>
          <a:xfrm>
            <a:off x="1167110" y="1706860"/>
            <a:ext cx="3895029" cy="3925541"/>
          </a:xfrm>
          <a:custGeom>
            <a:avLst/>
            <a:gdLst>
              <a:gd name="connsiteX0" fmla="*/ 3347369 w 3895029"/>
              <a:gd name="connsiteY0" fmla="*/ 0 h 3925541"/>
              <a:gd name="connsiteX1" fmla="*/ 3421939 w 3895029"/>
              <a:gd name="connsiteY1" fmla="*/ 0 h 3925541"/>
              <a:gd name="connsiteX2" fmla="*/ 3895029 w 3895029"/>
              <a:gd name="connsiteY2" fmla="*/ 473090 h 3925541"/>
              <a:gd name="connsiteX3" fmla="*/ 3895029 w 3895029"/>
              <a:gd name="connsiteY3" fmla="*/ 3452451 h 3925541"/>
              <a:gd name="connsiteX4" fmla="*/ 3421939 w 3895029"/>
              <a:gd name="connsiteY4" fmla="*/ 3925541 h 3925541"/>
              <a:gd name="connsiteX5" fmla="*/ 473090 w 3895029"/>
              <a:gd name="connsiteY5" fmla="*/ 3925541 h 3925541"/>
              <a:gd name="connsiteX6" fmla="*/ 0 w 3895029"/>
              <a:gd name="connsiteY6" fmla="*/ 3452451 h 3925541"/>
              <a:gd name="connsiteX7" fmla="*/ 0 w 3895029"/>
              <a:gd name="connsiteY7" fmla="*/ 1386864 h 3925541"/>
              <a:gd name="connsiteX8" fmla="*/ 2822408 w 3895029"/>
              <a:gd name="connsiteY8" fmla="*/ 1386864 h 3925541"/>
              <a:gd name="connsiteX9" fmla="*/ 3347369 w 3895029"/>
              <a:gd name="connsiteY9" fmla="*/ 861903 h 39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5029" h="3925541">
                <a:moveTo>
                  <a:pt x="3347369" y="0"/>
                </a:moveTo>
                <a:lnTo>
                  <a:pt x="3421939" y="0"/>
                </a:lnTo>
                <a:cubicBezTo>
                  <a:pt x="3683219" y="0"/>
                  <a:pt x="3895029" y="211810"/>
                  <a:pt x="3895029" y="473090"/>
                </a:cubicBezTo>
                <a:lnTo>
                  <a:pt x="3895029" y="3452451"/>
                </a:lnTo>
                <a:cubicBezTo>
                  <a:pt x="3895029" y="3713731"/>
                  <a:pt x="3683219" y="3925541"/>
                  <a:pt x="3421939" y="3925541"/>
                </a:cubicBezTo>
                <a:lnTo>
                  <a:pt x="473090" y="3925541"/>
                </a:lnTo>
                <a:cubicBezTo>
                  <a:pt x="211810" y="3925541"/>
                  <a:pt x="0" y="3713731"/>
                  <a:pt x="0" y="3452451"/>
                </a:cubicBezTo>
                <a:lnTo>
                  <a:pt x="0" y="1386864"/>
                </a:lnTo>
                <a:lnTo>
                  <a:pt x="2822408" y="1386864"/>
                </a:lnTo>
                <a:cubicBezTo>
                  <a:pt x="3112336" y="1386864"/>
                  <a:pt x="3347369" y="1151831"/>
                  <a:pt x="3347369" y="861903"/>
                </a:cubicBez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
        <p:nvSpPr>
          <p:cNvPr id="46" name="Picture Placeholder 45">
            <a:extLst>
              <a:ext uri="{FF2B5EF4-FFF2-40B4-BE49-F238E27FC236}">
                <a16:creationId xmlns:a16="http://schemas.microsoft.com/office/drawing/2014/main" id="{FCB50A0C-CB5F-43C6-8ADE-5BC200D51D83}"/>
              </a:ext>
            </a:extLst>
          </p:cNvPr>
          <p:cNvSpPr>
            <a:spLocks noGrp="1"/>
          </p:cNvSpPr>
          <p:nvPr>
            <p:ph type="pic" sz="quarter" idx="11"/>
          </p:nvPr>
        </p:nvSpPr>
        <p:spPr>
          <a:xfrm>
            <a:off x="0" y="0"/>
            <a:ext cx="4274277" cy="2792894"/>
          </a:xfrm>
          <a:custGeom>
            <a:avLst/>
            <a:gdLst>
              <a:gd name="connsiteX0" fmla="*/ 0 w 4274277"/>
              <a:gd name="connsiteY0" fmla="*/ 0 h 2552264"/>
              <a:gd name="connsiteX1" fmla="*/ 4274277 w 4274277"/>
              <a:gd name="connsiteY1" fmla="*/ 0 h 2552264"/>
              <a:gd name="connsiteX2" fmla="*/ 4274277 w 4274277"/>
              <a:gd name="connsiteY2" fmla="*/ 2075468 h 2552264"/>
              <a:gd name="connsiteX3" fmla="*/ 3797481 w 4274277"/>
              <a:gd name="connsiteY3" fmla="*/ 2552264 h 2552264"/>
              <a:gd name="connsiteX4" fmla="*/ 0 w 4274277"/>
              <a:gd name="connsiteY4" fmla="*/ 2552264 h 2552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277" h="2552264">
                <a:moveTo>
                  <a:pt x="0" y="0"/>
                </a:moveTo>
                <a:lnTo>
                  <a:pt x="4274277" y="0"/>
                </a:lnTo>
                <a:lnTo>
                  <a:pt x="4274277" y="2075468"/>
                </a:lnTo>
                <a:cubicBezTo>
                  <a:pt x="4274277" y="2338795"/>
                  <a:pt x="4060808" y="2552264"/>
                  <a:pt x="3797481" y="2552264"/>
                </a:cubicBezTo>
                <a:lnTo>
                  <a:pt x="0" y="2552264"/>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59215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F9A85133-0FBF-44AF-91FC-1A824EC95F7B}"/>
              </a:ext>
            </a:extLst>
          </p:cNvPr>
          <p:cNvSpPr>
            <a:spLocks noGrp="1"/>
          </p:cNvSpPr>
          <p:nvPr>
            <p:ph type="pic" sz="quarter" idx="12"/>
          </p:nvPr>
        </p:nvSpPr>
        <p:spPr>
          <a:xfrm>
            <a:off x="1181636" y="1185529"/>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a16="http://schemas.microsoft.com/office/drawing/2014/main" id="{C1F51008-4ADC-44A7-8685-6B37847C8E04}"/>
              </a:ext>
            </a:extLst>
          </p:cNvPr>
          <p:cNvSpPr>
            <a:spLocks noGrp="1"/>
          </p:cNvSpPr>
          <p:nvPr>
            <p:ph type="pic" sz="quarter" idx="13"/>
          </p:nvPr>
        </p:nvSpPr>
        <p:spPr>
          <a:xfrm>
            <a:off x="7928364" y="1663574"/>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52840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AB3B290-162D-4C2F-89AA-090BED65F0B0}"/>
              </a:ext>
            </a:extLst>
          </p:cNvPr>
          <p:cNvGrpSpPr/>
          <p:nvPr userDrawn="1"/>
        </p:nvGrpSpPr>
        <p:grpSpPr>
          <a:xfrm>
            <a:off x="1148916" y="1"/>
            <a:ext cx="3734353" cy="6858000"/>
            <a:chOff x="1148916" y="1"/>
            <a:chExt cx="3734353" cy="6858000"/>
          </a:xfrm>
        </p:grpSpPr>
        <p:sp>
          <p:nvSpPr>
            <p:cNvPr id="38" name="Rectangle 37">
              <a:extLst>
                <a:ext uri="{FF2B5EF4-FFF2-40B4-BE49-F238E27FC236}">
                  <a16:creationId xmlns:a16="http://schemas.microsoft.com/office/drawing/2014/main" id="{93A61495-90EB-4F73-AE7D-DE24CD1460F5}"/>
                </a:ext>
              </a:extLst>
            </p:cNvPr>
            <p:cNvSpPr/>
            <p:nvPr userDrawn="1"/>
          </p:nvSpPr>
          <p:spPr>
            <a:xfrm>
              <a:off x="1154048" y="1"/>
              <a:ext cx="3724088" cy="6858000"/>
            </a:xfrm>
            <a:prstGeom prst="rect">
              <a:avLst/>
            </a:prstGeom>
            <a:gradFill>
              <a:gsLst>
                <a:gs pos="1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C9A0B75-3551-4FC4-8F04-F376A39D094D}"/>
                </a:ext>
              </a:extLst>
            </p:cNvPr>
            <p:cNvSpPr/>
            <p:nvPr userDrawn="1"/>
          </p:nvSpPr>
          <p:spPr>
            <a:xfrm>
              <a:off x="1148916" y="2302726"/>
              <a:ext cx="3734353" cy="2307374"/>
            </a:xfrm>
            <a:prstGeom prst="rect">
              <a:avLst/>
            </a:prstGeom>
            <a:solidFill>
              <a:schemeClr val="bg1"/>
            </a:solidFill>
            <a:ln>
              <a:noFill/>
            </a:ln>
            <a:effectLst>
              <a:outerShdw blurRad="254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43" name="Picture Placeholder 3">
            <a:extLst>
              <a:ext uri="{FF2B5EF4-FFF2-40B4-BE49-F238E27FC236}">
                <a16:creationId xmlns:a16="http://schemas.microsoft.com/office/drawing/2014/main" id="{9EB3610E-D8AD-4FBD-A1DD-6E7E93461C0C}"/>
              </a:ext>
            </a:extLst>
          </p:cNvPr>
          <p:cNvSpPr>
            <a:spLocks noGrp="1"/>
          </p:cNvSpPr>
          <p:nvPr>
            <p:ph type="pic" sz="quarter" idx="13"/>
          </p:nvPr>
        </p:nvSpPr>
        <p:spPr>
          <a:xfrm>
            <a:off x="1527670" y="2724558"/>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8" name="Picture Placeholder 3">
            <a:extLst>
              <a:ext uri="{FF2B5EF4-FFF2-40B4-BE49-F238E27FC236}">
                <a16:creationId xmlns:a16="http://schemas.microsoft.com/office/drawing/2014/main" id="{08A5F2E1-5913-4BCA-912F-2791D72B7C08}"/>
              </a:ext>
            </a:extLst>
          </p:cNvPr>
          <p:cNvSpPr>
            <a:spLocks noGrp="1"/>
          </p:cNvSpPr>
          <p:nvPr>
            <p:ph type="pic" sz="quarter" idx="14"/>
          </p:nvPr>
        </p:nvSpPr>
        <p:spPr>
          <a:xfrm>
            <a:off x="1519824" y="416996"/>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3" name="Picture Placeholder 3">
            <a:extLst>
              <a:ext uri="{FF2B5EF4-FFF2-40B4-BE49-F238E27FC236}">
                <a16:creationId xmlns:a16="http://schemas.microsoft.com/office/drawing/2014/main" id="{1ED70C1E-77EA-4387-83EF-AA2C4AEAE592}"/>
              </a:ext>
            </a:extLst>
          </p:cNvPr>
          <p:cNvSpPr>
            <a:spLocks noGrp="1"/>
          </p:cNvSpPr>
          <p:nvPr>
            <p:ph type="pic" sz="quarter" idx="15"/>
          </p:nvPr>
        </p:nvSpPr>
        <p:spPr>
          <a:xfrm>
            <a:off x="1527670" y="4986862"/>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21970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9" name="Picture Placeholder 3">
            <a:extLst>
              <a:ext uri="{FF2B5EF4-FFF2-40B4-BE49-F238E27FC236}">
                <a16:creationId xmlns:a16="http://schemas.microsoft.com/office/drawing/2014/main" id="{B140C7A0-6950-45CC-901F-C9FB0DFF1084}"/>
              </a:ext>
            </a:extLst>
          </p:cNvPr>
          <p:cNvSpPr>
            <a:spLocks noGrp="1"/>
          </p:cNvSpPr>
          <p:nvPr>
            <p:ph type="pic" sz="quarter" idx="14"/>
          </p:nvPr>
        </p:nvSpPr>
        <p:spPr>
          <a:xfrm>
            <a:off x="6494648" y="1171142"/>
            <a:ext cx="4219657" cy="451571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95752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1.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6" Type="http://schemas.openxmlformats.org/officeDocument/2006/relationships/image" Target="../media/image2.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38000">
              <a:schemeClr val="bg1">
                <a:lumMod val="95000"/>
              </a:schemeClr>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9D9C2C-A14F-4C47-A513-E94E5B6FB8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0EC7A0A-04CC-4A56-872C-E35BC39138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5992E0-C3A2-4F78-B1ED-41D460F01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3C62E4B3-391B-49C0-A673-98A96C983FB5}" type="datetimeFigureOut">
              <a:rPr lang="en-US" smtClean="0"/>
              <a:pPr/>
              <a:t>3/17/25</a:t>
            </a:fld>
            <a:endParaRPr lang="en-US"/>
          </a:p>
        </p:txBody>
      </p:sp>
      <p:sp>
        <p:nvSpPr>
          <p:cNvPr id="5" name="Footer Placeholder 4">
            <a:extLst>
              <a:ext uri="{FF2B5EF4-FFF2-40B4-BE49-F238E27FC236}">
                <a16:creationId xmlns:a16="http://schemas.microsoft.com/office/drawing/2014/main" id="{6AE00A14-8F1E-4B19-A0DA-478EC40B8D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70BC492-D27B-4468-B9A6-481D4052EA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AA98139-DA01-49B0-927E-FE0B7A59B93B}" type="slidenum">
              <a:rPr lang="en-US" smtClean="0"/>
              <a:pPr/>
              <a:t>‹#›</a:t>
            </a:fld>
            <a:endParaRPr lang="en-US"/>
          </a:p>
        </p:txBody>
      </p:sp>
      <p:sp>
        <p:nvSpPr>
          <p:cNvPr id="7" name="Rectangle 6">
            <a:extLst>
              <a:ext uri="{FF2B5EF4-FFF2-40B4-BE49-F238E27FC236}">
                <a16:creationId xmlns:a16="http://schemas.microsoft.com/office/drawing/2014/main" id="{110BE49C-A9FF-4D75-B358-B3DB2F3CE57D}"/>
              </a:ext>
            </a:extLst>
          </p:cNvPr>
          <p:cNvSpPr/>
          <p:nvPr userDrawn="1"/>
        </p:nvSpPr>
        <p:spPr>
          <a:xfrm>
            <a:off x="11551458" y="7844"/>
            <a:ext cx="640542" cy="6842314"/>
          </a:xfrm>
          <a:prstGeom prst="rect">
            <a:avLst/>
          </a:prstGeom>
          <a:solidFill>
            <a:schemeClr val="bg1"/>
          </a:solidFill>
          <a:ln>
            <a:noFill/>
          </a:ln>
          <a:effectLst>
            <a:outerShdw blurRad="152400" dist="38100" dir="10800000" algn="r" rotWithShape="0">
              <a:schemeClr val="bg1">
                <a:lumMod val="8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55077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9FDA5C-FE29-41D1-B6D7-2AD90C9A59C8}"/>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7" name="Object 6" hidden="1">
                        <a:extLst>
                          <a:ext uri="{FF2B5EF4-FFF2-40B4-BE49-F238E27FC236}">
                            <a16:creationId xmlns:a16="http://schemas.microsoft.com/office/drawing/2014/main" id="{0E9FDA5C-FE29-41D1-B6D7-2AD90C9A59C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550859"/>
            <a:ext cx="10515600" cy="636105"/>
          </a:xfrm>
          <a:prstGeom prst="rect">
            <a:avLst/>
          </a:prstGeom>
        </p:spPr>
        <p:txBody>
          <a:bodyPr vert="horz" lIns="91440" tIns="45720" rIns="91440" bIns="45720" rtlCol="0" anchor="b">
            <a:normAutofit/>
          </a:bodyPr>
          <a:lstStyle/>
          <a:p>
            <a:r>
              <a:rPr lang="en-US" dirty="0"/>
              <a:t>Title</a:t>
            </a:r>
          </a:p>
        </p:txBody>
      </p:sp>
      <p:sp>
        <p:nvSpPr>
          <p:cNvPr id="3" name="Text Placeholder 2"/>
          <p:cNvSpPr>
            <a:spLocks noGrp="1"/>
          </p:cNvSpPr>
          <p:nvPr>
            <p:ph type="body" idx="1"/>
          </p:nvPr>
        </p:nvSpPr>
        <p:spPr>
          <a:xfrm>
            <a:off x="838200" y="1380152"/>
            <a:ext cx="10515600" cy="47968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70152"/>
            <a:ext cx="886943" cy="306875"/>
          </a:xfrm>
          <a:prstGeom prst="rect">
            <a:avLst/>
          </a:prstGeom>
        </p:spPr>
        <p:txBody>
          <a:bodyPr vert="horz" lIns="0" tIns="0" rIns="0" bIns="0" rtlCol="0" anchor="t"/>
          <a:lstStyle>
            <a:lvl1pPr algn="l">
              <a:defRPr sz="1100">
                <a:solidFill>
                  <a:schemeClr val="accent1"/>
                </a:solidFill>
                <a:latin typeface="GE SS Unique"/>
              </a:defRPr>
            </a:lvl1pPr>
          </a:lstStyle>
          <a:p>
            <a:r>
              <a:rPr lang="en-US">
                <a:solidFill>
                  <a:srgbClr val="008755"/>
                </a:solidFill>
              </a:rPr>
              <a:t>9/14/2021</a:t>
            </a:r>
            <a:endParaRPr lang="en-US" dirty="0">
              <a:solidFill>
                <a:srgbClr val="008755"/>
              </a:solidFill>
            </a:endParaRPr>
          </a:p>
        </p:txBody>
      </p:sp>
      <p:sp>
        <p:nvSpPr>
          <p:cNvPr id="6" name="Slide Number Placeholder 5"/>
          <p:cNvSpPr>
            <a:spLocks noGrp="1"/>
          </p:cNvSpPr>
          <p:nvPr>
            <p:ph type="sldNum" sz="quarter" idx="4"/>
          </p:nvPr>
        </p:nvSpPr>
        <p:spPr>
          <a:xfrm>
            <a:off x="10931504" y="6370152"/>
            <a:ext cx="422295" cy="306875"/>
          </a:xfrm>
          <a:prstGeom prst="rect">
            <a:avLst/>
          </a:prstGeom>
        </p:spPr>
        <p:txBody>
          <a:bodyPr vert="horz" lIns="0" tIns="0" rIns="0" bIns="0" rtlCol="0" anchor="t"/>
          <a:lstStyle>
            <a:lvl1pPr algn="r">
              <a:defRPr sz="1100">
                <a:solidFill>
                  <a:schemeClr val="accent1"/>
                </a:solidFill>
                <a:latin typeface="GE SS Unique"/>
              </a:defRPr>
            </a:lvl1pPr>
          </a:lstStyle>
          <a:p>
            <a:fld id="{72B5FAF0-EAE8-024B-ACFB-69B605C1F7C8}" type="slidenum">
              <a:rPr lang="en-US" smtClean="0">
                <a:solidFill>
                  <a:srgbClr val="008755"/>
                </a:solidFill>
              </a:rPr>
              <a:pPr/>
              <a:t>‹#›</a:t>
            </a:fld>
            <a:endParaRPr lang="en-US" dirty="0">
              <a:solidFill>
                <a:srgbClr val="008755"/>
              </a:solidFill>
            </a:endParaRPr>
          </a:p>
        </p:txBody>
      </p:sp>
      <p:sp>
        <p:nvSpPr>
          <p:cNvPr id="5" name="Footer Placeholder 4">
            <a:extLst>
              <a:ext uri="{FF2B5EF4-FFF2-40B4-BE49-F238E27FC236}">
                <a16:creationId xmlns:a16="http://schemas.microsoft.com/office/drawing/2014/main" id="{86862088-EEA8-4E63-AD80-72AF24633F4D}"/>
              </a:ext>
            </a:extLst>
          </p:cNvPr>
          <p:cNvSpPr>
            <a:spLocks noGrp="1"/>
          </p:cNvSpPr>
          <p:nvPr>
            <p:ph type="ftr" sz="quarter" idx="3"/>
          </p:nvPr>
        </p:nvSpPr>
        <p:spPr>
          <a:xfrm>
            <a:off x="1844873" y="6370152"/>
            <a:ext cx="8966900" cy="306875"/>
          </a:xfrm>
          <a:prstGeom prst="rect">
            <a:avLst/>
          </a:prstGeom>
        </p:spPr>
        <p:txBody>
          <a:bodyPr vert="horz" lIns="0" tIns="0" rIns="0" bIns="0" rtlCol="0" anchor="t"/>
          <a:lstStyle>
            <a:lvl1pPr algn="l">
              <a:defRPr sz="800">
                <a:solidFill>
                  <a:schemeClr val="tx1"/>
                </a:solidFill>
                <a:latin typeface="GE SS Unique"/>
              </a:defRPr>
            </a:lvl1p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pic>
        <p:nvPicPr>
          <p:cNvPr id="8" name="Picture 7">
            <a:extLst>
              <a:ext uri="{FF2B5EF4-FFF2-40B4-BE49-F238E27FC236}">
                <a16:creationId xmlns:a16="http://schemas.microsoft.com/office/drawing/2014/main" id="{D2066844-B30C-48BF-B684-E7C51B8C091F}"/>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b="30516"/>
          <a:stretch/>
        </p:blipFill>
        <p:spPr>
          <a:xfrm>
            <a:off x="8070573" y="3"/>
            <a:ext cx="4121425" cy="1380149"/>
          </a:xfrm>
          <a:prstGeom prst="rect">
            <a:avLst/>
          </a:prstGeom>
        </p:spPr>
      </p:pic>
    </p:spTree>
    <p:extLst>
      <p:ext uri="{BB962C8B-B14F-4D97-AF65-F5344CB8AC3E}">
        <p14:creationId xmlns:p14="http://schemas.microsoft.com/office/powerpoint/2010/main" val="261329176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8" r:id="rId11"/>
  </p:sldLayoutIdLst>
  <p:hf hdr="0"/>
  <p:txStyles>
    <p:titleStyle>
      <a:lvl1pPr algn="l" defTabSz="914400" rtl="0" eaLnBrk="1" latinLnBrk="0" hangingPunct="1">
        <a:lnSpc>
          <a:spcPct val="90000"/>
        </a:lnSpc>
        <a:spcBef>
          <a:spcPct val="0"/>
        </a:spcBef>
        <a:buNone/>
        <a:defRPr sz="2800" b="1" i="0" kern="1200">
          <a:solidFill>
            <a:srgbClr val="1B8654"/>
          </a:solidFill>
          <a:latin typeface="GE SS Unique"/>
          <a:ea typeface="GE SS Unique"/>
          <a:cs typeface="GE SS Unique"/>
        </a:defRPr>
      </a:lvl1pPr>
    </p:titleStyle>
    <p:bodyStyle>
      <a:lvl1pPr marL="228600" indent="-228600" algn="l" defTabSz="914400" rtl="0" eaLnBrk="1" latinLnBrk="0" hangingPunct="1">
        <a:lnSpc>
          <a:spcPct val="90000"/>
        </a:lnSpc>
        <a:spcBef>
          <a:spcPts val="1000"/>
        </a:spcBef>
        <a:buClr>
          <a:schemeClr val="tx1"/>
        </a:buClr>
        <a:buFont typeface="Arial" panose="020B0604020202020204" pitchFamily="34" charset="0"/>
        <a:buChar char="•"/>
        <a:defRPr sz="1800" b="0" i="0" kern="1200">
          <a:solidFill>
            <a:srgbClr val="000000"/>
          </a:solidFill>
          <a:latin typeface="GE SS Unique"/>
          <a:ea typeface="GE SS Unique Light" charset="0"/>
          <a:cs typeface="GE SS Unique Light"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rgbClr val="000000"/>
          </a:solidFill>
          <a:latin typeface="GE SS Unique"/>
          <a:ea typeface="GE SS Unique Light" charset="0"/>
          <a:cs typeface="GE SS Unique Light"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rgbClr val="000000"/>
          </a:solidFill>
          <a:latin typeface="GE SS Unique"/>
          <a:ea typeface="GE SS Unique Light" charset="0"/>
          <a:cs typeface="GE SS Unique Light"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EB5A64D8-DFF5-9C14-1C21-213C0F4505E1}"/>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0239" b="10239"/>
          <a:stretch/>
        </p:blipFill>
        <p:spPr>
          <a:xfrm>
            <a:off x="0" y="-5610"/>
            <a:ext cx="12192000" cy="6858000"/>
          </a:xfrm>
        </p:spPr>
      </p:pic>
      <p:sp>
        <p:nvSpPr>
          <p:cNvPr id="194" name="TextBox 193">
            <a:extLst>
              <a:ext uri="{FF2B5EF4-FFF2-40B4-BE49-F238E27FC236}">
                <a16:creationId xmlns:a16="http://schemas.microsoft.com/office/drawing/2014/main" id="{5435D8C9-DB01-49E2-8993-1B2E74860FB3}"/>
              </a:ext>
            </a:extLst>
          </p:cNvPr>
          <p:cNvSpPr txBox="1"/>
          <p:nvPr/>
        </p:nvSpPr>
        <p:spPr>
          <a:xfrm>
            <a:off x="5894047" y="3490941"/>
            <a:ext cx="5113922" cy="2285241"/>
          </a:xfrm>
          <a:prstGeom prst="rect">
            <a:avLst/>
          </a:prstGeom>
          <a:noFill/>
        </p:spPr>
        <p:txBody>
          <a:bodyPr wrap="square" rtlCol="0">
            <a:spAutoFit/>
          </a:bodyPr>
          <a:lstStyle/>
          <a:p>
            <a:pPr marL="54665" marR="3976" indent="-45223">
              <a:spcBef>
                <a:spcPts val="262"/>
              </a:spcBef>
            </a:pPr>
            <a:r>
              <a:rPr lang="en-US" sz="4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Approach to patient with Diabetes Mellitus</a:t>
            </a:r>
            <a:endParaRPr lang="ar-SA" sz="4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a:p>
            <a:pPr marL="54665" marR="3976" indent="-45223">
              <a:spcBef>
                <a:spcPts val="262"/>
              </a:spcBef>
            </a:pPr>
            <a:r>
              <a:rPr lang="en-US" sz="2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29/09/2024</a:t>
            </a:r>
          </a:p>
        </p:txBody>
      </p:sp>
    </p:spTree>
    <p:extLst>
      <p:ext uri="{BB962C8B-B14F-4D97-AF65-F5344CB8AC3E}">
        <p14:creationId xmlns:p14="http://schemas.microsoft.com/office/powerpoint/2010/main" val="2937415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Screening in general practice</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0</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endParaRPr lang="en-US" sz="2800" i="1" dirty="0">
              <a:solidFill>
                <a:schemeClr val="tx1"/>
              </a:solidFill>
              <a:latin typeface="Corbel" panose="020B0503020204020204" pitchFamily="34" charset="0"/>
              <a:cs typeface="TheSans" panose="020B0503040302020203" pitchFamily="34" charset="-78"/>
            </a:endParaRPr>
          </a:p>
        </p:txBody>
      </p:sp>
      <p:graphicFrame>
        <p:nvGraphicFramePr>
          <p:cNvPr id="4" name="Table 3"/>
          <p:cNvGraphicFramePr>
            <a:graphicFrameLocks noGrp="1"/>
          </p:cNvGraphicFramePr>
          <p:nvPr>
            <p:extLst>
              <p:ext uri="{D42A27DB-BD31-4B8C-83A1-F6EECF244321}">
                <p14:modId xmlns:p14="http://schemas.microsoft.com/office/powerpoint/2010/main" val="1155034137"/>
              </p:ext>
            </p:extLst>
          </p:nvPr>
        </p:nvGraphicFramePr>
        <p:xfrm>
          <a:off x="-33658" y="1257300"/>
          <a:ext cx="11569165" cy="5525672"/>
        </p:xfrm>
        <a:graphic>
          <a:graphicData uri="http://schemas.openxmlformats.org/drawingml/2006/table">
            <a:tbl>
              <a:tblPr rtl="1" firstRow="1" bandRow="1">
                <a:tableStyleId>{5C22544A-7EE6-4342-B048-85BDC9FD1C3A}</a:tableStyleId>
              </a:tblPr>
              <a:tblGrid>
                <a:gridCol w="3774830">
                  <a:extLst>
                    <a:ext uri="{9D8B030D-6E8A-4147-A177-3AD203B41FA5}">
                      <a16:colId xmlns:a16="http://schemas.microsoft.com/office/drawing/2014/main" val="20000"/>
                    </a:ext>
                  </a:extLst>
                </a:gridCol>
                <a:gridCol w="7794335">
                  <a:extLst>
                    <a:ext uri="{9D8B030D-6E8A-4147-A177-3AD203B41FA5}">
                      <a16:colId xmlns:a16="http://schemas.microsoft.com/office/drawing/2014/main" val="20001"/>
                    </a:ext>
                  </a:extLst>
                </a:gridCol>
              </a:tblGrid>
              <a:tr h="546742">
                <a:tc>
                  <a:txBody>
                    <a:bodyPr/>
                    <a:lstStyle/>
                    <a:p>
                      <a:pPr rtl="1"/>
                      <a:r>
                        <a:rPr lang="en-US" sz="1800"/>
                        <a:t>Result</a:t>
                      </a:r>
                      <a:endParaRPr lang="en-US" sz="1800" dirty="0"/>
                    </a:p>
                  </a:txBody>
                  <a:tcPr>
                    <a:solidFill>
                      <a:srgbClr val="03A5B8"/>
                    </a:solidFill>
                  </a:tcPr>
                </a:tc>
                <a:tc>
                  <a:txBody>
                    <a:bodyPr/>
                    <a:lstStyle/>
                    <a:p>
                      <a:pPr rtl="1"/>
                      <a:r>
                        <a:rPr lang="en-US" sz="1800"/>
                        <a:t>Test</a:t>
                      </a:r>
                      <a:endParaRPr lang="en-US" sz="1800" dirty="0"/>
                    </a:p>
                  </a:txBody>
                  <a:tcPr>
                    <a:solidFill>
                      <a:srgbClr val="03A5B8"/>
                    </a:solidFill>
                  </a:tcPr>
                </a:tc>
                <a:extLst>
                  <a:ext uri="{0D108BD9-81ED-4DB2-BD59-A6C34878D82A}">
                    <a16:rowId xmlns:a16="http://schemas.microsoft.com/office/drawing/2014/main" val="10000"/>
                  </a:ext>
                </a:extLst>
              </a:tr>
              <a:tr h="424530">
                <a:tc>
                  <a:txBody>
                    <a:bodyPr/>
                    <a:lstStyle/>
                    <a:p>
                      <a:pPr rtl="1"/>
                      <a:r>
                        <a:rPr lang="en-US" sz="1800"/>
                        <a:t>May show high LDL, low HDL, and/or high triglycerides</a:t>
                      </a:r>
                      <a:endParaRPr lang="en-US" sz="1800" dirty="0"/>
                    </a:p>
                  </a:txBody>
                  <a:tcPr>
                    <a:solidFill>
                      <a:srgbClr val="BEF8FE"/>
                    </a:solidFill>
                  </a:tcPr>
                </a:tc>
                <a:tc>
                  <a:txBody>
                    <a:bodyPr/>
                    <a:lstStyle/>
                    <a:p>
                      <a:pPr rtl="1"/>
                      <a:r>
                        <a:rPr lang="en-US" sz="1800" dirty="0"/>
                        <a:t>The fasting lipid profile</a:t>
                      </a:r>
                    </a:p>
                    <a:p>
                      <a:pPr rtl="1"/>
                      <a:r>
                        <a:rPr lang="en-US" sz="1800" dirty="0" err="1"/>
                        <a:t>Dyslipidaemia</a:t>
                      </a:r>
                      <a:r>
                        <a:rPr lang="en-US" sz="1800" dirty="0"/>
                        <a:t> is common in type 2 diabetes. </a:t>
                      </a:r>
                    </a:p>
                  </a:txBody>
                  <a:tcPr>
                    <a:solidFill>
                      <a:srgbClr val="BEF8FE"/>
                    </a:solidFill>
                  </a:tcPr>
                </a:tc>
                <a:extLst>
                  <a:ext uri="{0D108BD9-81ED-4DB2-BD59-A6C34878D82A}">
                    <a16:rowId xmlns:a16="http://schemas.microsoft.com/office/drawing/2014/main" val="10001"/>
                  </a:ext>
                </a:extLst>
              </a:tr>
              <a:tr h="450259">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a:t>Positive in instances of</a:t>
                      </a:r>
                    </a:p>
                    <a:p>
                      <a:pPr marL="0" marR="0" indent="0" algn="l" defTabSz="914400" rtl="1" eaLnBrk="1" fontAlgn="auto" latinLnBrk="0" hangingPunct="1">
                        <a:lnSpc>
                          <a:spcPct val="100000"/>
                        </a:lnSpc>
                        <a:spcBef>
                          <a:spcPts val="0"/>
                        </a:spcBef>
                        <a:spcAft>
                          <a:spcPts val="0"/>
                        </a:spcAft>
                        <a:buClrTx/>
                        <a:buSzTx/>
                        <a:buFontTx/>
                        <a:buNone/>
                        <a:tabLst/>
                        <a:defRPr/>
                      </a:pPr>
                      <a:r>
                        <a:rPr lang="en-US" sz="1800"/>
                        <a:t>ketoacidosis</a:t>
                      </a:r>
                      <a:endParaRPr lang="en-US" sz="1800" dirty="0"/>
                    </a:p>
                  </a:txBody>
                  <a:tcPr>
                    <a:solidFill>
                      <a:srgbClr val="7FF1FD"/>
                    </a:solidFill>
                  </a:tcPr>
                </a:tc>
                <a:tc>
                  <a:txBody>
                    <a:bodyPr/>
                    <a:lstStyle/>
                    <a:p>
                      <a:pPr rtl="1"/>
                      <a:r>
                        <a:rPr lang="en-US" sz="1800"/>
                        <a:t>Urine ketones</a:t>
                      </a:r>
                    </a:p>
                    <a:p>
                      <a:pPr rtl="1"/>
                      <a:r>
                        <a:rPr lang="en-US" sz="1800"/>
                        <a:t>Check urine ketones at diagnosis if the patient is symptomatic  of hyperglycaemia (polyuria, polydipsia, weakness) and volume depletion (dry mucous membranes, poor skin turgor, tachycardia, hypotension, and, in severe cases, shock). </a:t>
                      </a:r>
                      <a:endParaRPr lang="en-US" sz="1800" dirty="0"/>
                    </a:p>
                  </a:txBody>
                  <a:tcPr>
                    <a:solidFill>
                      <a:srgbClr val="7FF1FD"/>
                    </a:solidFill>
                  </a:tcPr>
                </a:tc>
                <a:extLst>
                  <a:ext uri="{0D108BD9-81ED-4DB2-BD59-A6C34878D82A}">
                    <a16:rowId xmlns:a16="http://schemas.microsoft.com/office/drawing/2014/main" val="10002"/>
                  </a:ext>
                </a:extLst>
              </a:tr>
              <a:tr h="495285">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a:t>May be increased; ACR ≥3 mg/mmol indicates clinically important proteinuria[</a:t>
                      </a:r>
                      <a:endParaRPr lang="en-US" sz="1800" dirty="0"/>
                    </a:p>
                  </a:txBody>
                  <a:tcPr>
                    <a:solidFill>
                      <a:srgbClr val="BEF8FE"/>
                    </a:solidFill>
                  </a:tcPr>
                </a:tc>
                <a:tc>
                  <a:txBody>
                    <a:bodyPr/>
                    <a:lstStyle/>
                    <a:p>
                      <a:pPr rtl="1"/>
                      <a:r>
                        <a:rPr lang="en-US" sz="1800"/>
                        <a:t>Albumin to creatinine ratio (ACR)</a:t>
                      </a:r>
                    </a:p>
                    <a:p>
                      <a:pPr rtl="1"/>
                      <a:r>
                        <a:rPr lang="en-US" sz="1800"/>
                        <a:t>• Indicates nephropathy and suggests possible other microvascular damage.</a:t>
                      </a:r>
                    </a:p>
                    <a:p>
                      <a:pPr rtl="1"/>
                      <a:r>
                        <a:rPr lang="en-US" sz="1800"/>
                        <a:t>• Monitored yearly.</a:t>
                      </a:r>
                      <a:endParaRPr lang="en-US" sz="1800" dirty="0"/>
                    </a:p>
                  </a:txBody>
                  <a:tcPr>
                    <a:solidFill>
                      <a:srgbClr val="BEF8FE"/>
                    </a:solidFill>
                  </a:tcPr>
                </a:tc>
                <a:extLst>
                  <a:ext uri="{0D108BD9-81ED-4DB2-BD59-A6C34878D82A}">
                    <a16:rowId xmlns:a16="http://schemas.microsoft.com/office/drawing/2014/main" val="10003"/>
                  </a:ext>
                </a:extLst>
              </a:tr>
              <a:tr h="417481">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a:t>May indicate renal insufeciency</a:t>
                      </a:r>
                      <a:r>
                        <a:rPr lang="en-US" sz="1800" baseline="0"/>
                        <a:t> </a:t>
                      </a:r>
                      <a:endParaRPr lang="en-US" sz="1800" dirty="0"/>
                    </a:p>
                  </a:txBody>
                  <a:tcPr>
                    <a:solidFill>
                      <a:srgbClr val="7FF1FD"/>
                    </a:solidFill>
                  </a:tcPr>
                </a:tc>
                <a:tc>
                  <a:txBody>
                    <a:bodyPr/>
                    <a:lstStyle/>
                    <a:p>
                      <a:pPr rtl="1"/>
                      <a:r>
                        <a:rPr lang="en-US" sz="1800"/>
                        <a:t>Serum creatinine and estimated GFR</a:t>
                      </a:r>
                      <a:endParaRPr lang="en-US" sz="1800" dirty="0"/>
                    </a:p>
                  </a:txBody>
                  <a:tcPr>
                    <a:solidFill>
                      <a:srgbClr val="7FF1FD"/>
                    </a:solidFill>
                  </a:tcPr>
                </a:tc>
                <a:extLst>
                  <a:ext uri="{0D108BD9-81ED-4DB2-BD59-A6C34878D82A}">
                    <a16:rowId xmlns:a16="http://schemas.microsoft.com/office/drawing/2014/main" val="10004"/>
                  </a:ext>
                </a:extLst>
              </a:tr>
              <a:tr h="310662">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1800"/>
                        <a:t>May indicate prior ischemia</a:t>
                      </a:r>
                      <a:endParaRPr lang="en-US" sz="1800" dirty="0"/>
                    </a:p>
                  </a:txBody>
                  <a:tcPr>
                    <a:solidFill>
                      <a:srgbClr val="BEF8FE"/>
                    </a:solidFill>
                  </a:tcPr>
                </a:tc>
                <a:tc>
                  <a:txBody>
                    <a:bodyPr/>
                    <a:lstStyle/>
                    <a:p>
                      <a:pPr rtl="1"/>
                      <a:r>
                        <a:rPr lang="en-US" sz="1800"/>
                        <a:t>ECG</a:t>
                      </a:r>
                      <a:endParaRPr lang="ar-SA" sz="1800" dirty="0"/>
                    </a:p>
                  </a:txBody>
                  <a:tcPr>
                    <a:solidFill>
                      <a:srgbClr val="BEF8FE"/>
                    </a:solidFill>
                  </a:tcPr>
                </a:tc>
                <a:extLst>
                  <a:ext uri="{0D108BD9-81ED-4DB2-BD59-A6C34878D82A}">
                    <a16:rowId xmlns:a16="http://schemas.microsoft.com/office/drawing/2014/main" val="10005"/>
                  </a:ext>
                </a:extLst>
              </a:tr>
              <a:tr h="439616">
                <a:tc>
                  <a:txBody>
                    <a:bodyPr/>
                    <a:lstStyle/>
                    <a:p>
                      <a:pPr rtl="1"/>
                      <a:r>
                        <a:rPr lang="en-US" sz="1800"/>
                        <a:t>≤0.9 is abnormal</a:t>
                      </a:r>
                      <a:endParaRPr lang="en-US" sz="1800" dirty="0"/>
                    </a:p>
                  </a:txBody>
                  <a:tcPr>
                    <a:solidFill>
                      <a:srgbClr val="7FF1FD"/>
                    </a:solidFill>
                  </a:tcPr>
                </a:tc>
                <a:tc>
                  <a:txBody>
                    <a:bodyPr/>
                    <a:lstStyle/>
                    <a:p>
                      <a:pPr rtl="1"/>
                      <a:r>
                        <a:rPr lang="en-US" sz="1800"/>
                        <a:t>Ankle-brachial pressure index (ABPI)</a:t>
                      </a:r>
                      <a:endParaRPr lang="en-US" sz="1800" dirty="0"/>
                    </a:p>
                  </a:txBody>
                  <a:tcPr>
                    <a:solidFill>
                      <a:srgbClr val="7FF1FD"/>
                    </a:solidFill>
                  </a:tcPr>
                </a:tc>
                <a:extLst>
                  <a:ext uri="{0D108BD9-81ED-4DB2-BD59-A6C34878D82A}">
                    <a16:rowId xmlns:a16="http://schemas.microsoft.com/office/drawing/2014/main" val="10006"/>
                  </a:ext>
                </a:extLst>
              </a:tr>
              <a:tr h="372793">
                <a:tc>
                  <a:txBody>
                    <a:bodyPr/>
                    <a:lstStyle/>
                    <a:p>
                      <a:pPr rtl="1"/>
                      <a:r>
                        <a:rPr lang="en-US" sz="1800"/>
                        <a:t>Normal or high</a:t>
                      </a:r>
                      <a:endParaRPr lang="en-US" sz="1800" dirty="0"/>
                    </a:p>
                  </a:txBody>
                  <a:tcPr>
                    <a:solidFill>
                      <a:srgbClr val="BEF8FE"/>
                    </a:solidFill>
                  </a:tcPr>
                </a:tc>
                <a:tc>
                  <a:txBody>
                    <a:bodyPr/>
                    <a:lstStyle/>
                    <a:p>
                      <a:pPr rtl="1"/>
                      <a:r>
                        <a:rPr lang="en-US" sz="1800"/>
                        <a:t>C-peptide</a:t>
                      </a:r>
                      <a:endParaRPr lang="en-US" sz="1800" dirty="0"/>
                    </a:p>
                  </a:txBody>
                  <a:tcPr>
                    <a:solidFill>
                      <a:srgbClr val="BEF8FE"/>
                    </a:solidFill>
                  </a:tcPr>
                </a:tc>
                <a:extLst>
                  <a:ext uri="{0D108BD9-81ED-4DB2-BD59-A6C34878D82A}">
                    <a16:rowId xmlns:a16="http://schemas.microsoft.com/office/drawing/2014/main" val="10007"/>
                  </a:ext>
                </a:extLst>
              </a:tr>
              <a:tr h="566539">
                <a:tc>
                  <a:txBody>
                    <a:bodyPr/>
                    <a:lstStyle/>
                    <a:p>
                      <a:pPr rtl="1"/>
                      <a:r>
                        <a:rPr lang="en-US" sz="1800" dirty="0"/>
                        <a:t>May be elevated</a:t>
                      </a:r>
                      <a:endParaRPr lang="ar-SA" sz="1800" dirty="0"/>
                    </a:p>
                  </a:txBody>
                  <a:tcPr>
                    <a:solidFill>
                      <a:srgbClr val="BEF8FE"/>
                    </a:solidFill>
                  </a:tcPr>
                </a:tc>
                <a:tc>
                  <a:txBody>
                    <a:bodyPr/>
                    <a:lstStyle/>
                    <a:p>
                      <a:pPr rtl="1"/>
                      <a:r>
                        <a:rPr lang="en-US" sz="1800" dirty="0"/>
                        <a:t>Liver function tests</a:t>
                      </a:r>
                    </a:p>
                    <a:p>
                      <a:pPr rtl="1"/>
                      <a:r>
                        <a:rPr lang="en-US" sz="1800" dirty="0"/>
                        <a:t>May identify people with non-alcoholic fatty liver disease (NAFLD).</a:t>
                      </a:r>
                    </a:p>
                  </a:txBody>
                  <a:tcPr>
                    <a:solidFill>
                      <a:srgbClr val="BEF8FE"/>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72137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Screening</a:t>
            </a: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1</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The National Institute for Health and Care Excellence (NICE) in the UK recommends that general practitioners should identify people on their practice register who may be at high risk of type 2 diabetes. </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Risk assessment should be offered to:</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All adults aged 40 and above (except pregnant women)</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eople aged 25 to 39 of South Asian, Chinese, African-Caribbean, and black African ethnicity (except pregnant women)</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Adults with any other condition that increases the risk of type 2 diabetes.</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Those with a high risk score should be offered a fasting plasma glucose or HbA1c test; a blood test should be considered regardless of risk score for those aged 25 and over of South Asian or Chinese descent whose body mass index (BMI) is greater than 23 kg/m².</a:t>
            </a:r>
          </a:p>
          <a:p>
            <a:pPr lvl="0" defTabSz="685800">
              <a:lnSpc>
                <a:spcPct val="90000"/>
              </a:lnSpc>
              <a:spcBef>
                <a:spcPts val="750"/>
              </a:spcBef>
            </a:pPr>
            <a:endParaRPr lang="en-US" sz="20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The US Preventive Services Task Force recommends screening for glucose status for  adults ages 35 to 70 years who have BMI ≥25 kg/m².</a:t>
            </a:r>
          </a:p>
          <a:p>
            <a:pPr lvl="0" defTabSz="685800">
              <a:lnSpc>
                <a:spcPct val="90000"/>
              </a:lnSpc>
              <a:spcBef>
                <a:spcPts val="750"/>
              </a:spcBef>
            </a:pPr>
            <a:endParaRPr lang="en-US" sz="20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The American Diabetes Association recommends routine screening of non-pregnant asymptomatic adults of any age with BMI 25 or more plus one or more additional risk factors for diabetes.[</a:t>
            </a:r>
            <a:endParaRPr lang="en-US" sz="2000" i="1"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1514735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2</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err="1">
                <a:solidFill>
                  <a:schemeClr val="tx1"/>
                </a:solidFill>
                <a:latin typeface="Corbel" panose="020B0503020204020204" pitchFamily="34" charset="0"/>
                <a:cs typeface="TheSans" panose="020B0503040302020203" pitchFamily="34" charset="-78"/>
              </a:rPr>
              <a:t>Individualised</a:t>
            </a:r>
            <a:r>
              <a:rPr lang="en-US" sz="2400" b="1" dirty="0">
                <a:solidFill>
                  <a:schemeClr val="tx1"/>
                </a:solidFill>
                <a:latin typeface="Corbel" panose="020B0503020204020204" pitchFamily="34" charset="0"/>
                <a:cs typeface="TheSans" panose="020B0503040302020203" pitchFamily="34" charset="-78"/>
              </a:rPr>
              <a:t> care</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Take an </a:t>
            </a:r>
            <a:r>
              <a:rPr lang="en-US" sz="2400" dirty="0" err="1">
                <a:solidFill>
                  <a:schemeClr val="tx1"/>
                </a:solidFill>
                <a:latin typeface="Corbel" panose="020B0503020204020204" pitchFamily="34" charset="0"/>
                <a:cs typeface="TheSans" panose="020B0503040302020203" pitchFamily="34" charset="-78"/>
              </a:rPr>
              <a:t>individualised</a:t>
            </a:r>
            <a:r>
              <a:rPr lang="en-US" sz="2400" dirty="0">
                <a:solidFill>
                  <a:schemeClr val="tx1"/>
                </a:solidFill>
                <a:latin typeface="Corbel" panose="020B0503020204020204" pitchFamily="34" charset="0"/>
                <a:cs typeface="TheSans" panose="020B0503040302020203" pitchFamily="34" charset="-78"/>
              </a:rPr>
              <a:t> approach to management that is tailored to the specific needs and circumstances of your patient. Take into account the patient’s:</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Personal preferences</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Comorbidities</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Risks from </a:t>
            </a:r>
            <a:r>
              <a:rPr lang="en-US" sz="2400" dirty="0" err="1">
                <a:solidFill>
                  <a:schemeClr val="tx1"/>
                </a:solidFill>
                <a:latin typeface="Corbel" panose="020B0503020204020204" pitchFamily="34" charset="0"/>
                <a:cs typeface="TheSans" panose="020B0503040302020203" pitchFamily="34" charset="-78"/>
              </a:rPr>
              <a:t>polypharmacy</a:t>
            </a:r>
            <a:endParaRPr lang="en-US" sz="24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i="1" dirty="0">
                <a:solidFill>
                  <a:schemeClr val="tx1"/>
                </a:solidFill>
                <a:latin typeface="Corbel" panose="020B0503020204020204" pitchFamily="34" charset="0"/>
                <a:cs typeface="TheSans" panose="020B0503040302020203" pitchFamily="34" charset="-78"/>
              </a:rPr>
              <a:t>• </a:t>
            </a:r>
            <a:r>
              <a:rPr lang="en-US" sz="2400" dirty="0">
                <a:solidFill>
                  <a:schemeClr val="tx1"/>
                </a:solidFill>
                <a:latin typeface="Corbel" panose="020B0503020204020204" pitchFamily="34" charset="0"/>
                <a:cs typeface="TheSans" panose="020B0503040302020203" pitchFamily="34" charset="-78"/>
              </a:rPr>
              <a:t>Ability to benefit from long‑term interventions because of reduced life expectancy</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Disabilities (e.g., visual impairment).</a:t>
            </a:r>
          </a:p>
          <a:p>
            <a:pPr lvl="0" defTabSz="685800">
              <a:lnSpc>
                <a:spcPct val="90000"/>
              </a:lnSpc>
              <a:spcBef>
                <a:spcPts val="750"/>
              </a:spcBef>
            </a:pPr>
            <a:endParaRPr lang="en-US" sz="2400" i="1"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1417198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orbel" panose="020B0503020204020204" pitchFamily="34" charset="0"/>
                <a:cs typeface="TheSans" panose="020B0503040302020203" pitchFamily="34" charset="-78"/>
              </a:rPr>
              <a:t>Diet, physical activity, and sleep</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Nutritional advice should be tailored to the needs of the individual patient, and be provided by a healthcare professional with specific expertise and competencies in nutrition.</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Encourage the patient to:</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Include high-</a:t>
            </a:r>
            <a:r>
              <a:rPr lang="en-US" sz="2400" dirty="0" err="1">
                <a:solidFill>
                  <a:schemeClr val="tx1"/>
                </a:solidFill>
                <a:latin typeface="Corbel" panose="020B0503020204020204" pitchFamily="34" charset="0"/>
                <a:cs typeface="TheSans" panose="020B0503040302020203" pitchFamily="34" charset="-78"/>
              </a:rPr>
              <a:t>fibre</a:t>
            </a:r>
            <a:r>
              <a:rPr lang="en-US" sz="2400" dirty="0">
                <a:solidFill>
                  <a:schemeClr val="tx1"/>
                </a:solidFill>
                <a:latin typeface="Corbel" panose="020B0503020204020204" pitchFamily="34" charset="0"/>
                <a:cs typeface="TheSans" panose="020B0503040302020203" pitchFamily="34" charset="-78"/>
              </a:rPr>
              <a:t>, low-</a:t>
            </a:r>
            <a:r>
              <a:rPr lang="en-US" sz="2400" dirty="0" err="1">
                <a:solidFill>
                  <a:schemeClr val="tx1"/>
                </a:solidFill>
                <a:latin typeface="Corbel" panose="020B0503020204020204" pitchFamily="34" charset="0"/>
                <a:cs typeface="TheSans" panose="020B0503040302020203" pitchFamily="34" charset="-78"/>
              </a:rPr>
              <a:t>glycaemic</a:t>
            </a:r>
            <a:r>
              <a:rPr lang="en-US" sz="2400" dirty="0">
                <a:solidFill>
                  <a:schemeClr val="tx1"/>
                </a:solidFill>
                <a:latin typeface="Corbel" panose="020B0503020204020204" pitchFamily="34" charset="0"/>
                <a:cs typeface="TheSans" panose="020B0503040302020203" pitchFamily="34" charset="-78"/>
              </a:rPr>
              <a:t>-index sources of carbohydrate in their diet, such as fruit, vegetables, </a:t>
            </a:r>
            <a:r>
              <a:rPr lang="en-US" sz="2400" dirty="0" err="1">
                <a:solidFill>
                  <a:schemeClr val="tx1"/>
                </a:solidFill>
                <a:latin typeface="Corbel" panose="020B0503020204020204" pitchFamily="34" charset="0"/>
                <a:cs typeface="TheSans" panose="020B0503040302020203" pitchFamily="34" charset="-78"/>
              </a:rPr>
              <a:t>wholegrains</a:t>
            </a:r>
            <a:r>
              <a:rPr lang="en-US" sz="2400" dirty="0">
                <a:solidFill>
                  <a:schemeClr val="tx1"/>
                </a:solidFill>
                <a:latin typeface="Corbel" panose="020B0503020204020204" pitchFamily="34" charset="0"/>
                <a:cs typeface="TheSans" panose="020B0503040302020203" pitchFamily="34" charset="-78"/>
              </a:rPr>
              <a:t>, and pulses</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Eat low-fat dairy products and oily fish</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Limit their intake of foods containing saturated and trans fatty acids.</a:t>
            </a:r>
          </a:p>
        </p:txBody>
      </p:sp>
    </p:spTree>
    <p:extLst>
      <p:ext uri="{BB962C8B-B14F-4D97-AF65-F5344CB8AC3E}">
        <p14:creationId xmlns:p14="http://schemas.microsoft.com/office/powerpoint/2010/main" val="7446147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orbel" panose="020B0503020204020204" pitchFamily="34" charset="0"/>
                <a:cs typeface="TheSans" panose="020B0503040302020203" pitchFamily="34" charset="-78"/>
              </a:rPr>
              <a:t>Diet, physical activity, and sleep</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In terms of physical activity, encourage the patient to:</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Reduce sedentary </a:t>
            </a:r>
            <a:r>
              <a:rPr lang="en-US" sz="2400" dirty="0" err="1">
                <a:solidFill>
                  <a:schemeClr val="tx1"/>
                </a:solidFill>
                <a:latin typeface="Corbel" panose="020B0503020204020204" pitchFamily="34" charset="0"/>
                <a:cs typeface="TheSans" panose="020B0503040302020203" pitchFamily="34" charset="-78"/>
              </a:rPr>
              <a:t>behaviour</a:t>
            </a:r>
            <a:r>
              <a:rPr lang="en-US" sz="2400" dirty="0">
                <a:solidFill>
                  <a:schemeClr val="tx1"/>
                </a:solidFill>
                <a:latin typeface="Corbel" panose="020B0503020204020204" pitchFamily="34" charset="0"/>
                <a:cs typeface="TheSans" panose="020B0503040302020203" pitchFamily="34" charset="-78"/>
              </a:rPr>
              <a:t> and be more physically active</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Incorporate activity into their daily life (e.g., brisk walking, gardening, cycling). In this </a:t>
            </a:r>
            <a:r>
              <a:rPr lang="en-US" sz="2400" dirty="0" err="1">
                <a:solidFill>
                  <a:schemeClr val="tx1"/>
                </a:solidFill>
                <a:latin typeface="Corbel" panose="020B0503020204020204" pitchFamily="34" charset="0"/>
                <a:cs typeface="TheSans" panose="020B0503040302020203" pitchFamily="34" charset="-78"/>
              </a:rPr>
              <a:t>way,the</a:t>
            </a:r>
            <a:r>
              <a:rPr lang="en-US" sz="2400" dirty="0">
                <a:solidFill>
                  <a:schemeClr val="tx1"/>
                </a:solidFill>
                <a:latin typeface="Corbel" panose="020B0503020204020204" pitchFamily="34" charset="0"/>
                <a:cs typeface="TheSans" panose="020B0503040302020203" pitchFamily="34" charset="-78"/>
              </a:rPr>
              <a:t> patient can gradually increase the amount and intensity of activity they do.</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Do at least 30 minutes of moderate (or greater intensity) physical activity on 5 or more days a week.</a:t>
            </a:r>
          </a:p>
          <a:p>
            <a:pPr lvl="0" defTabSz="685800">
              <a:lnSpc>
                <a:spcPct val="90000"/>
              </a:lnSpc>
              <a:spcBef>
                <a:spcPts val="750"/>
              </a:spcBef>
            </a:pPr>
            <a:endParaRPr lang="en-US" sz="24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If the patient is overweight, set an initial body weight loss target of 5% to 10%. Evidence suggests this is the minimum weight loss in obese patients to improve </a:t>
            </a:r>
            <a:r>
              <a:rPr lang="en-US" sz="2400" dirty="0" err="1">
                <a:solidFill>
                  <a:schemeClr val="tx1"/>
                </a:solidFill>
                <a:latin typeface="Corbel" panose="020B0503020204020204" pitchFamily="34" charset="0"/>
                <a:cs typeface="TheSans" panose="020B0503040302020203" pitchFamily="34" charset="-78"/>
              </a:rPr>
              <a:t>glycaemic</a:t>
            </a:r>
            <a:r>
              <a:rPr lang="en-US" sz="2400" dirty="0">
                <a:solidFill>
                  <a:schemeClr val="tx1"/>
                </a:solidFill>
                <a:latin typeface="Corbel" panose="020B0503020204020204" pitchFamily="34" charset="0"/>
                <a:cs typeface="TheSans" panose="020B0503040302020203" pitchFamily="34" charset="-78"/>
              </a:rPr>
              <a:t> control, lipid levels, and blood pressure.</a:t>
            </a:r>
          </a:p>
        </p:txBody>
      </p:sp>
    </p:spTree>
    <p:extLst>
      <p:ext uri="{BB962C8B-B14F-4D97-AF65-F5344CB8AC3E}">
        <p14:creationId xmlns:p14="http://schemas.microsoft.com/office/powerpoint/2010/main" val="2232060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orbel" panose="020B0503020204020204" pitchFamily="34" charset="0"/>
                <a:cs typeface="TheSans" panose="020B0503040302020203" pitchFamily="34" charset="-78"/>
              </a:rPr>
              <a:t>Cardiovascular risk management</a:t>
            </a:r>
          </a:p>
          <a:p>
            <a:pPr lvl="0" defTabSz="685800">
              <a:lnSpc>
                <a:spcPct val="90000"/>
              </a:lnSpc>
              <a:spcBef>
                <a:spcPts val="750"/>
              </a:spcBef>
            </a:pPr>
            <a:endParaRPr lang="en-US" sz="24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Blood pressure (BP)</a:t>
            </a:r>
          </a:p>
          <a:p>
            <a:pPr lvl="0" defTabSz="685800">
              <a:lnSpc>
                <a:spcPct val="90000"/>
              </a:lnSpc>
              <a:spcBef>
                <a:spcPts val="750"/>
              </a:spcBef>
            </a:pPr>
            <a:endParaRPr lang="en-US" sz="24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The National Institute for Health and Care Excellence (NICE) in the UK recommends maintaining blood pressure at:</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Below 135/85 mmHg for adults aged under 80, based on ambulatory or home BP monitoring (or &lt;140/90 mmHg based on clinic BP)</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Below 145/85 mmHg for patients aged 80 and over, based on ambulatory or home BP monitoring (or &lt;150/90 mmHg based on clinic BP).</a:t>
            </a:r>
          </a:p>
        </p:txBody>
      </p:sp>
    </p:spTree>
    <p:extLst>
      <p:ext uri="{BB962C8B-B14F-4D97-AF65-F5344CB8AC3E}">
        <p14:creationId xmlns:p14="http://schemas.microsoft.com/office/powerpoint/2010/main" val="2008694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orbel" panose="020B0503020204020204" pitchFamily="34" charset="0"/>
                <a:cs typeface="TheSans" panose="020B0503040302020203" pitchFamily="34" charset="-78"/>
              </a:rPr>
              <a:t>Cardiovascular risk management</a:t>
            </a:r>
          </a:p>
          <a:p>
            <a:pPr lvl="0" defTabSz="685800">
              <a:lnSpc>
                <a:spcPct val="90000"/>
              </a:lnSpc>
              <a:spcBef>
                <a:spcPts val="750"/>
              </a:spcBef>
            </a:pPr>
            <a:endParaRPr lang="en-US" sz="24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Lipids</a:t>
            </a:r>
          </a:p>
          <a:p>
            <a:pPr lvl="0" defTabSz="685800">
              <a:lnSpc>
                <a:spcPct val="90000"/>
              </a:lnSpc>
              <a:spcBef>
                <a:spcPts val="750"/>
              </a:spcBef>
            </a:pPr>
            <a:endParaRPr lang="en-US" sz="24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Based on these categories, the ESC recommends in patients with type 2 diabetes who are:</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At moderate cardiovascular risk: an LDL-cholesterol target of &lt;2.6 </a:t>
            </a:r>
            <a:r>
              <a:rPr lang="en-US" sz="2400" dirty="0" err="1">
                <a:solidFill>
                  <a:schemeClr val="tx1"/>
                </a:solidFill>
                <a:latin typeface="Corbel" panose="020B0503020204020204" pitchFamily="34" charset="0"/>
                <a:cs typeface="TheSans" panose="020B0503040302020203" pitchFamily="34" charset="-78"/>
              </a:rPr>
              <a:t>mmol</a:t>
            </a:r>
            <a:r>
              <a:rPr lang="en-US" sz="2400" dirty="0">
                <a:solidFill>
                  <a:schemeClr val="tx1"/>
                </a:solidFill>
                <a:latin typeface="Corbel" panose="020B0503020204020204" pitchFamily="34" charset="0"/>
                <a:cs typeface="TheSans" panose="020B0503040302020203" pitchFamily="34" charset="-78"/>
              </a:rPr>
              <a:t>/L (&lt;100 mg/</a:t>
            </a:r>
            <a:r>
              <a:rPr lang="en-US" sz="2400" dirty="0" err="1">
                <a:solidFill>
                  <a:schemeClr val="tx1"/>
                </a:solidFill>
                <a:latin typeface="Corbel" panose="020B0503020204020204" pitchFamily="34" charset="0"/>
                <a:cs typeface="TheSans" panose="020B0503040302020203" pitchFamily="34" charset="-78"/>
              </a:rPr>
              <a:t>dL</a:t>
            </a:r>
            <a:r>
              <a:rPr lang="en-US" sz="2400" dirty="0">
                <a:solidFill>
                  <a:schemeClr val="tx1"/>
                </a:solidFill>
                <a:latin typeface="Corbel" panose="020B0503020204020204" pitchFamily="34" charset="0"/>
                <a:cs typeface="TheSans" panose="020B0503040302020203" pitchFamily="34" charset="-78"/>
              </a:rPr>
              <a:t>)</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At high cardiovascular risk: an LDL-cholesterol target of &lt;1.8 </a:t>
            </a:r>
            <a:r>
              <a:rPr lang="en-US" sz="2400" dirty="0" err="1">
                <a:solidFill>
                  <a:schemeClr val="tx1"/>
                </a:solidFill>
                <a:latin typeface="Corbel" panose="020B0503020204020204" pitchFamily="34" charset="0"/>
                <a:cs typeface="TheSans" panose="020B0503040302020203" pitchFamily="34" charset="-78"/>
              </a:rPr>
              <a:t>mmol</a:t>
            </a:r>
            <a:r>
              <a:rPr lang="en-US" sz="2400" dirty="0">
                <a:solidFill>
                  <a:schemeClr val="tx1"/>
                </a:solidFill>
                <a:latin typeface="Corbel" panose="020B0503020204020204" pitchFamily="34" charset="0"/>
                <a:cs typeface="TheSans" panose="020B0503040302020203" pitchFamily="34" charset="-78"/>
              </a:rPr>
              <a:t>/L (&lt;70 mg/</a:t>
            </a:r>
            <a:r>
              <a:rPr lang="en-US" sz="2400" dirty="0" err="1">
                <a:solidFill>
                  <a:schemeClr val="tx1"/>
                </a:solidFill>
                <a:latin typeface="Corbel" panose="020B0503020204020204" pitchFamily="34" charset="0"/>
                <a:cs typeface="TheSans" panose="020B0503040302020203" pitchFamily="34" charset="-78"/>
              </a:rPr>
              <a:t>dL</a:t>
            </a:r>
            <a:r>
              <a:rPr lang="en-US" sz="2400" dirty="0">
                <a:solidFill>
                  <a:schemeClr val="tx1"/>
                </a:solidFill>
                <a:latin typeface="Corbel" panose="020B0503020204020204" pitchFamily="34" charset="0"/>
                <a:cs typeface="TheSans" panose="020B0503040302020203" pitchFamily="34" charset="-78"/>
              </a:rPr>
              <a:t>) and </a:t>
            </a:r>
            <a:r>
              <a:rPr lang="en-US" sz="2400" dirty="0" err="1">
                <a:solidFill>
                  <a:schemeClr val="tx1"/>
                </a:solidFill>
                <a:latin typeface="Corbel" panose="020B0503020204020204" pitchFamily="34" charset="0"/>
                <a:cs typeface="TheSans" panose="020B0503040302020203" pitchFamily="34" charset="-78"/>
              </a:rPr>
              <a:t>LDLcholesterol</a:t>
            </a:r>
            <a:r>
              <a:rPr lang="en-US" sz="2400" dirty="0">
                <a:solidFill>
                  <a:schemeClr val="tx1"/>
                </a:solidFill>
                <a:latin typeface="Corbel" panose="020B0503020204020204" pitchFamily="34" charset="0"/>
                <a:cs typeface="TheSans" panose="020B0503040302020203" pitchFamily="34" charset="-78"/>
              </a:rPr>
              <a:t> reduction of at least 50%; a secondary goal of a non-HDL-cholesterol target of &lt;2.6 </a:t>
            </a:r>
            <a:r>
              <a:rPr lang="en-US" sz="2400" dirty="0" err="1">
                <a:solidFill>
                  <a:schemeClr val="tx1"/>
                </a:solidFill>
                <a:latin typeface="Corbel" panose="020B0503020204020204" pitchFamily="34" charset="0"/>
                <a:cs typeface="TheSans" panose="020B0503040302020203" pitchFamily="34" charset="-78"/>
              </a:rPr>
              <a:t>mmol</a:t>
            </a:r>
            <a:r>
              <a:rPr lang="en-US" sz="2400" dirty="0">
                <a:solidFill>
                  <a:schemeClr val="tx1"/>
                </a:solidFill>
                <a:latin typeface="Corbel" panose="020B0503020204020204" pitchFamily="34" charset="0"/>
                <a:cs typeface="TheSans" panose="020B0503040302020203" pitchFamily="34" charset="-78"/>
              </a:rPr>
              <a:t>/L (&lt;100 mg/</a:t>
            </a:r>
            <a:r>
              <a:rPr lang="en-US" sz="2400" dirty="0" err="1">
                <a:solidFill>
                  <a:schemeClr val="tx1"/>
                </a:solidFill>
                <a:latin typeface="Corbel" panose="020B0503020204020204" pitchFamily="34" charset="0"/>
                <a:cs typeface="TheSans" panose="020B0503040302020203" pitchFamily="34" charset="-78"/>
              </a:rPr>
              <a:t>dL</a:t>
            </a:r>
            <a:r>
              <a:rPr lang="en-US" sz="2400" dirty="0">
                <a:solidFill>
                  <a:schemeClr val="tx1"/>
                </a:solidFill>
                <a:latin typeface="Corbel" panose="020B0503020204020204" pitchFamily="34" charset="0"/>
                <a:cs typeface="TheSans" panose="020B0503040302020203" pitchFamily="34" charset="-78"/>
              </a:rPr>
              <a:t>)</a:t>
            </a: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 At very high cardiovascular risk: an LDL-cholesterol target of &lt;1.4 </a:t>
            </a:r>
            <a:r>
              <a:rPr lang="en-US" sz="2400" dirty="0" err="1">
                <a:solidFill>
                  <a:schemeClr val="tx1"/>
                </a:solidFill>
                <a:latin typeface="Corbel" panose="020B0503020204020204" pitchFamily="34" charset="0"/>
                <a:cs typeface="TheSans" panose="020B0503040302020203" pitchFamily="34" charset="-78"/>
              </a:rPr>
              <a:t>mmol</a:t>
            </a:r>
            <a:r>
              <a:rPr lang="en-US" sz="2400" dirty="0">
                <a:solidFill>
                  <a:schemeClr val="tx1"/>
                </a:solidFill>
                <a:latin typeface="Corbel" panose="020B0503020204020204" pitchFamily="34" charset="0"/>
                <a:cs typeface="TheSans" panose="020B0503040302020203" pitchFamily="34" charset="-78"/>
              </a:rPr>
              <a:t>/L (&lt;55 mg/</a:t>
            </a:r>
            <a:r>
              <a:rPr lang="en-US" sz="2400" dirty="0" err="1">
                <a:solidFill>
                  <a:schemeClr val="tx1"/>
                </a:solidFill>
                <a:latin typeface="Corbel" panose="020B0503020204020204" pitchFamily="34" charset="0"/>
                <a:cs typeface="TheSans" panose="020B0503040302020203" pitchFamily="34" charset="-78"/>
              </a:rPr>
              <a:t>dL</a:t>
            </a:r>
            <a:r>
              <a:rPr lang="en-US" sz="2400" dirty="0">
                <a:solidFill>
                  <a:schemeClr val="tx1"/>
                </a:solidFill>
                <a:latin typeface="Corbel" panose="020B0503020204020204" pitchFamily="34" charset="0"/>
                <a:cs typeface="TheSans" panose="020B0503040302020203" pitchFamily="34" charset="-78"/>
              </a:rPr>
              <a:t>) and </a:t>
            </a:r>
            <a:r>
              <a:rPr lang="en-US" sz="2400" dirty="0" err="1">
                <a:solidFill>
                  <a:schemeClr val="tx1"/>
                </a:solidFill>
                <a:latin typeface="Corbel" panose="020B0503020204020204" pitchFamily="34" charset="0"/>
                <a:cs typeface="TheSans" panose="020B0503040302020203" pitchFamily="34" charset="-78"/>
              </a:rPr>
              <a:t>LDLcholesterol</a:t>
            </a:r>
            <a:r>
              <a:rPr lang="en-US" sz="2400" dirty="0">
                <a:solidFill>
                  <a:schemeClr val="tx1"/>
                </a:solidFill>
                <a:latin typeface="Corbel" panose="020B0503020204020204" pitchFamily="34" charset="0"/>
                <a:cs typeface="TheSans" panose="020B0503040302020203" pitchFamily="34" charset="-78"/>
              </a:rPr>
              <a:t> reduction of at least 50%; a secondary goal of a non-HDL-cholesterol target of &lt;2.2 </a:t>
            </a:r>
            <a:r>
              <a:rPr lang="en-US" sz="2400" dirty="0" err="1">
                <a:solidFill>
                  <a:schemeClr val="tx1"/>
                </a:solidFill>
                <a:latin typeface="Corbel" panose="020B0503020204020204" pitchFamily="34" charset="0"/>
                <a:cs typeface="TheSans" panose="020B0503040302020203" pitchFamily="34" charset="-78"/>
              </a:rPr>
              <a:t>mmol</a:t>
            </a:r>
            <a:r>
              <a:rPr lang="en-US" sz="2400" dirty="0">
                <a:solidFill>
                  <a:schemeClr val="tx1"/>
                </a:solidFill>
                <a:latin typeface="Corbel" panose="020B0503020204020204" pitchFamily="34" charset="0"/>
                <a:cs typeface="TheSans" panose="020B0503040302020203" pitchFamily="34" charset="-78"/>
              </a:rPr>
              <a:t>/L (&lt;85 mg/</a:t>
            </a:r>
            <a:r>
              <a:rPr lang="en-US" sz="2400" dirty="0" err="1">
                <a:solidFill>
                  <a:schemeClr val="tx1"/>
                </a:solidFill>
                <a:latin typeface="Corbel" panose="020B0503020204020204" pitchFamily="34" charset="0"/>
                <a:cs typeface="TheSans" panose="020B0503040302020203" pitchFamily="34" charset="-78"/>
              </a:rPr>
              <a:t>dL</a:t>
            </a:r>
            <a:r>
              <a:rPr lang="en-US" sz="2400" dirty="0">
                <a:solidFill>
                  <a:schemeClr val="tx1"/>
                </a:solidFill>
                <a:latin typeface="Corbel" panose="020B0503020204020204" pitchFamily="34" charset="0"/>
                <a:cs typeface="TheSans" panose="020B0503040302020203" pitchFamily="34" charset="-78"/>
              </a:rPr>
              <a:t>).</a:t>
            </a:r>
          </a:p>
        </p:txBody>
      </p:sp>
    </p:spTree>
    <p:extLst>
      <p:ext uri="{BB962C8B-B14F-4D97-AF65-F5344CB8AC3E}">
        <p14:creationId xmlns:p14="http://schemas.microsoft.com/office/powerpoint/2010/main" val="2706881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Corbel" panose="020B0503020204020204" pitchFamily="34" charset="0"/>
                <a:cs typeface="TheSans" panose="020B0503040302020203" pitchFamily="34" charset="-78"/>
              </a:rPr>
              <a:t>Cardiovascular risk management</a:t>
            </a:r>
          </a:p>
          <a:p>
            <a:pPr lvl="0" defTabSz="685800">
              <a:lnSpc>
                <a:spcPct val="90000"/>
              </a:lnSpc>
              <a:spcBef>
                <a:spcPts val="750"/>
              </a:spcBef>
            </a:pPr>
            <a:endParaRPr lang="en-US" sz="24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err="1">
                <a:solidFill>
                  <a:schemeClr val="tx1"/>
                </a:solidFill>
                <a:latin typeface="Corbel" panose="020B0503020204020204" pitchFamily="34" charset="0"/>
                <a:cs typeface="TheSans" panose="020B0503040302020203" pitchFamily="34" charset="-78"/>
              </a:rPr>
              <a:t>Antiplatelets</a:t>
            </a:r>
            <a:endParaRPr lang="en-US" sz="24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endParaRPr lang="en-US" sz="24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Chronic kidney disease</a:t>
            </a:r>
          </a:p>
          <a:p>
            <a:pPr lvl="0" defTabSz="685800">
              <a:lnSpc>
                <a:spcPct val="90000"/>
              </a:lnSpc>
              <a:spcBef>
                <a:spcPts val="750"/>
              </a:spcBef>
            </a:pPr>
            <a:endParaRPr lang="en-US" sz="2400"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3458554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err="1">
                <a:solidFill>
                  <a:schemeClr val="tx1"/>
                </a:solidFill>
                <a:latin typeface="Corbel" panose="020B0503020204020204" pitchFamily="34" charset="0"/>
                <a:cs typeface="TheSans" panose="020B0503040302020203" pitchFamily="34" charset="-78"/>
              </a:rPr>
              <a:t>Antihyperglycemic</a:t>
            </a:r>
            <a:r>
              <a:rPr lang="en-US" sz="2000" b="1" dirty="0">
                <a:solidFill>
                  <a:schemeClr val="tx1"/>
                </a:solidFill>
                <a:latin typeface="Corbel" panose="020B0503020204020204" pitchFamily="34" charset="0"/>
                <a:cs typeface="TheSans" panose="020B0503040302020203" pitchFamily="34" charset="-78"/>
              </a:rPr>
              <a:t> medications</a:t>
            </a:r>
          </a:p>
          <a:p>
            <a:pPr lvl="0" defTabSz="685800">
              <a:lnSpc>
                <a:spcPct val="90000"/>
              </a:lnSpc>
              <a:spcBef>
                <a:spcPts val="750"/>
              </a:spcBef>
            </a:pPr>
            <a:endParaRPr lang="en-US" sz="20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In the UK, NICE recommends:</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manages their type 2 diabetes either with lifestyle and diet, or with lifestyle and diet</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mbined with a single drug that is not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HbA1c level of 48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6.5%)</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is on a drug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 HbA1c level of</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53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7.0%).</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nsider a slightly higher HbA1c level on a case-by-case basis for:</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who are older  frail, or unlikely to achieve longer-term risk-reduction benefits (e.g., those with a reduced life expectancy)</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tight blood glucose control poses a high risk of the consequence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including: people who are at risk of falling; people who have impaired awarenes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those who drive or operate machinery as part of their job</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intensive management is not appropriate (e.g., people with significant comorbidities).</a:t>
            </a:r>
            <a:endParaRPr lang="en-US" sz="2400" b="1"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2974744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err="1">
                <a:solidFill>
                  <a:schemeClr val="tx1"/>
                </a:solidFill>
                <a:latin typeface="Corbel" panose="020B0503020204020204" pitchFamily="34" charset="0"/>
                <a:cs typeface="TheSans" panose="020B0503040302020203" pitchFamily="34" charset="-78"/>
              </a:rPr>
              <a:t>Antihyperglycemic</a:t>
            </a:r>
            <a:r>
              <a:rPr lang="en-US" sz="2000" b="1" dirty="0">
                <a:solidFill>
                  <a:schemeClr val="tx1"/>
                </a:solidFill>
                <a:latin typeface="Corbel" panose="020B0503020204020204" pitchFamily="34" charset="0"/>
                <a:cs typeface="TheSans" panose="020B0503040302020203" pitchFamily="34" charset="-78"/>
              </a:rPr>
              <a:t> medications</a:t>
            </a:r>
          </a:p>
          <a:p>
            <a:pPr lvl="0" defTabSz="685800">
              <a:lnSpc>
                <a:spcPct val="90000"/>
              </a:lnSpc>
              <a:spcBef>
                <a:spcPts val="750"/>
              </a:spcBef>
            </a:pPr>
            <a:endParaRPr lang="en-US" sz="20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In the UK, NICE recommends:</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manages their type 2 diabetes either with lifestyle and diet, or with lifestyle and diet</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mbined with a single drug that is not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HbA1c level of 48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6.5%)</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is on a drug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 HbA1c level of</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53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7.0%).</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nsider a slightly higher HbA1c level on a case-by-case basis for:</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who are older  frail, or unlikely to achieve longer-term risk-reduction benefits (e.g., those with a reduced life expectancy)</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tight blood glucose control poses a high risk of the consequence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including: people who are at risk of falling; people who have impaired awarenes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those who drive or operate machinery as part of their job</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intensive management is not appropriate (e.g., people with significant comorbidities).</a:t>
            </a:r>
            <a:endParaRPr lang="en-US" sz="2400" b="1"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3161683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txBody>
          <a:bodyPr/>
          <a:lstStyle/>
          <a:p>
            <a:endParaRPr lang="en-US"/>
          </a:p>
        </p:txBody>
      </p:sp>
      <p:sp>
        <p:nvSpPr>
          <p:cNvPr id="3" name="Picture Placeholder 2"/>
          <p:cNvSpPr>
            <a:spLocks noGrp="1"/>
          </p:cNvSpPr>
          <p:nvPr>
            <p:ph type="pic" sz="quarter" idx="11"/>
          </p:nvPr>
        </p:nvSpPr>
        <p:spPr/>
        <p:txBody>
          <a:bodyPr/>
          <a:lstStyle/>
          <a:p>
            <a:endParaRPr lang="en-US"/>
          </a:p>
        </p:txBody>
      </p:sp>
      <p:pic>
        <p:nvPicPr>
          <p:cNvPr id="4" name="Picture 3"/>
          <p:cNvPicPr>
            <a:picLocks noChangeAspect="1"/>
          </p:cNvPicPr>
          <p:nvPr/>
        </p:nvPicPr>
        <p:blipFill>
          <a:blip r:embed="rId2"/>
          <a:stretch>
            <a:fillRect/>
          </a:stretch>
        </p:blipFill>
        <p:spPr>
          <a:xfrm>
            <a:off x="-54428" y="-489855"/>
            <a:ext cx="12246428" cy="13389429"/>
          </a:xfrm>
          <a:prstGeom prst="rect">
            <a:avLst/>
          </a:prstGeom>
        </p:spPr>
      </p:pic>
    </p:spTree>
    <p:extLst>
      <p:ext uri="{BB962C8B-B14F-4D97-AF65-F5344CB8AC3E}">
        <p14:creationId xmlns:p14="http://schemas.microsoft.com/office/powerpoint/2010/main" val="38920334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0</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err="1">
                <a:solidFill>
                  <a:schemeClr val="tx1"/>
                </a:solidFill>
                <a:latin typeface="Corbel" panose="020B0503020204020204" pitchFamily="34" charset="0"/>
                <a:cs typeface="TheSans" panose="020B0503040302020203" pitchFamily="34" charset="-78"/>
              </a:rPr>
              <a:t>Antihyperglycemic</a:t>
            </a:r>
            <a:r>
              <a:rPr lang="en-US" sz="2000" b="1" dirty="0">
                <a:solidFill>
                  <a:schemeClr val="tx1"/>
                </a:solidFill>
                <a:latin typeface="Corbel" panose="020B0503020204020204" pitchFamily="34" charset="0"/>
                <a:cs typeface="TheSans" panose="020B0503040302020203" pitchFamily="34" charset="-78"/>
              </a:rPr>
              <a:t> medications</a:t>
            </a:r>
          </a:p>
          <a:p>
            <a:pPr lvl="0" defTabSz="685800">
              <a:lnSpc>
                <a:spcPct val="90000"/>
              </a:lnSpc>
              <a:spcBef>
                <a:spcPts val="750"/>
              </a:spcBef>
            </a:pPr>
            <a:endParaRPr lang="en-US" sz="20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In the UK, NICE recommends:</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manages their type 2 diabetes either with lifestyle and diet, or with lifestyle and diet</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mbined with a single drug that is not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HbA1c level of 48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6.5%)</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is on a drug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 HbA1c level of</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53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7.0%).</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nsider a slightly higher HbA1c level on a case-by-case basis for:</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who are older  frail, or unlikely to achieve longer-term risk-reduction benefits (e.g., those with a reduced life expectancy)</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tight blood glucose control poses a high risk of the consequence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including: people who are at risk of falling; people who have impaired awarenes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those who drive or operate machinery as part of their job</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intensive management is not appropriate (e.g., people with significant comorbidities).</a:t>
            </a:r>
            <a:endParaRPr lang="en-US" sz="2400" b="1" dirty="0">
              <a:solidFill>
                <a:schemeClr val="tx1"/>
              </a:solidFill>
              <a:latin typeface="Corbel" panose="020B0503020204020204" pitchFamily="34" charset="0"/>
              <a:cs typeface="TheSans" panose="020B0503040302020203" pitchFamily="34" charset="-78"/>
            </a:endParaRPr>
          </a:p>
        </p:txBody>
      </p:sp>
      <p:pic>
        <p:nvPicPr>
          <p:cNvPr id="3" name="Picture 2"/>
          <p:cNvPicPr>
            <a:picLocks noChangeAspect="1"/>
          </p:cNvPicPr>
          <p:nvPr/>
        </p:nvPicPr>
        <p:blipFill>
          <a:blip r:embed="rId3"/>
          <a:stretch>
            <a:fillRect/>
          </a:stretch>
        </p:blipFill>
        <p:spPr>
          <a:xfrm>
            <a:off x="0" y="0"/>
            <a:ext cx="11535507" cy="10581025"/>
          </a:xfrm>
          <a:prstGeom prst="rect">
            <a:avLst/>
          </a:prstGeom>
        </p:spPr>
      </p:pic>
    </p:spTree>
    <p:extLst>
      <p:ext uri="{BB962C8B-B14F-4D97-AF65-F5344CB8AC3E}">
        <p14:creationId xmlns:p14="http://schemas.microsoft.com/office/powerpoint/2010/main" val="13356672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1</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err="1">
                <a:solidFill>
                  <a:schemeClr val="tx1"/>
                </a:solidFill>
                <a:latin typeface="Corbel" panose="020B0503020204020204" pitchFamily="34" charset="0"/>
                <a:cs typeface="TheSans" panose="020B0503040302020203" pitchFamily="34" charset="-78"/>
              </a:rPr>
              <a:t>Antihyperglycemic</a:t>
            </a:r>
            <a:r>
              <a:rPr lang="en-US" sz="2000" b="1" dirty="0">
                <a:solidFill>
                  <a:schemeClr val="tx1"/>
                </a:solidFill>
                <a:latin typeface="Corbel" panose="020B0503020204020204" pitchFamily="34" charset="0"/>
                <a:cs typeface="TheSans" panose="020B0503040302020203" pitchFamily="34" charset="-78"/>
              </a:rPr>
              <a:t> medications</a:t>
            </a:r>
          </a:p>
          <a:p>
            <a:pPr lvl="0" defTabSz="685800">
              <a:lnSpc>
                <a:spcPct val="90000"/>
              </a:lnSpc>
              <a:spcBef>
                <a:spcPts val="750"/>
              </a:spcBef>
            </a:pPr>
            <a:endParaRPr lang="en-US" sz="20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In the UK, NICE recommends:</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manages their type 2 diabetes either with lifestyle and diet, or with lifestyle and diet</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mbined with a single drug that is not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HbA1c level of 48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6.5%)</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If the patient is on a drug associated with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support them to aim for an HbA1c level of</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53 </a:t>
            </a:r>
            <a:r>
              <a:rPr lang="en-US" sz="2000" dirty="0" err="1">
                <a:solidFill>
                  <a:schemeClr val="tx1"/>
                </a:solidFill>
                <a:latin typeface="Corbel" panose="020B0503020204020204" pitchFamily="34" charset="0"/>
                <a:cs typeface="TheSans" panose="020B0503040302020203" pitchFamily="34" charset="-78"/>
              </a:rPr>
              <a:t>mmol</a:t>
            </a:r>
            <a:r>
              <a:rPr lang="en-US" sz="2000" dirty="0">
                <a:solidFill>
                  <a:schemeClr val="tx1"/>
                </a:solidFill>
                <a:latin typeface="Corbel" panose="020B0503020204020204" pitchFamily="34" charset="0"/>
                <a:cs typeface="TheSans" panose="020B0503040302020203" pitchFamily="34" charset="-78"/>
              </a:rPr>
              <a:t>/</a:t>
            </a:r>
            <a:r>
              <a:rPr lang="en-US" sz="2000" dirty="0" err="1">
                <a:solidFill>
                  <a:schemeClr val="tx1"/>
                </a:solidFill>
                <a:latin typeface="Corbel" panose="020B0503020204020204" pitchFamily="34" charset="0"/>
                <a:cs typeface="TheSans" panose="020B0503040302020203" pitchFamily="34" charset="-78"/>
              </a:rPr>
              <a:t>mol</a:t>
            </a:r>
            <a:r>
              <a:rPr lang="en-US" sz="2000" dirty="0">
                <a:solidFill>
                  <a:schemeClr val="tx1"/>
                </a:solidFill>
                <a:latin typeface="Corbel" panose="020B0503020204020204" pitchFamily="34" charset="0"/>
                <a:cs typeface="TheSans" panose="020B0503040302020203" pitchFamily="34" charset="-78"/>
              </a:rPr>
              <a:t> (7.0%).</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Consider a slightly higher HbA1c level on a case-by-case basis for:</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who are older  frail, or unlikely to achieve longer-term risk-reduction benefits (e.g., those with a reduced life expectancy)</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tight blood glucose control poses a high risk of the consequence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including: people who are at risk of falling; people who have impaired awareness of </a:t>
            </a:r>
            <a:r>
              <a:rPr lang="en-US" sz="2000" dirty="0" err="1">
                <a:solidFill>
                  <a:schemeClr val="tx1"/>
                </a:solidFill>
                <a:latin typeface="Corbel" panose="020B0503020204020204" pitchFamily="34" charset="0"/>
                <a:cs typeface="TheSans" panose="020B0503040302020203" pitchFamily="34" charset="-78"/>
              </a:rPr>
              <a:t>hypoglycaemia</a:t>
            </a:r>
            <a:r>
              <a:rPr lang="en-US" sz="2000" dirty="0">
                <a:solidFill>
                  <a:schemeClr val="tx1"/>
                </a:solidFill>
                <a:latin typeface="Corbel" panose="020B0503020204020204" pitchFamily="34" charset="0"/>
                <a:cs typeface="TheSans" panose="020B0503040302020203" pitchFamily="34" charset="-78"/>
              </a:rPr>
              <a:t>; those who drive or operate machinery as part of their job</a:t>
            </a:r>
          </a:p>
          <a:p>
            <a:pPr lvl="0" defTabSz="685800">
              <a:lnSpc>
                <a:spcPct val="90000"/>
              </a:lnSpc>
              <a:spcBef>
                <a:spcPts val="750"/>
              </a:spcBef>
            </a:pPr>
            <a:r>
              <a:rPr lang="en-US" sz="2000" dirty="0">
                <a:solidFill>
                  <a:schemeClr val="tx1"/>
                </a:solidFill>
                <a:latin typeface="Corbel" panose="020B0503020204020204" pitchFamily="34" charset="0"/>
                <a:cs typeface="TheSans" panose="020B0503040302020203" pitchFamily="34" charset="-78"/>
              </a:rPr>
              <a:t>• Patients for whom intensive management is not appropriate (e.g., people with significant comorbidities).</a:t>
            </a:r>
            <a:endParaRPr lang="en-US" sz="2400" b="1" dirty="0">
              <a:solidFill>
                <a:schemeClr val="tx1"/>
              </a:solidFill>
              <a:latin typeface="Corbel" panose="020B0503020204020204" pitchFamily="34" charset="0"/>
              <a:cs typeface="TheSans" panose="020B0503040302020203" pitchFamily="34" charset="-78"/>
            </a:endParaRPr>
          </a:p>
        </p:txBody>
      </p:sp>
      <p:pic>
        <p:nvPicPr>
          <p:cNvPr id="3" name="Picture 2"/>
          <p:cNvPicPr>
            <a:picLocks noChangeAspect="1"/>
          </p:cNvPicPr>
          <p:nvPr/>
        </p:nvPicPr>
        <p:blipFill>
          <a:blip r:embed="rId3"/>
          <a:stretch>
            <a:fillRect/>
          </a:stretch>
        </p:blipFill>
        <p:spPr>
          <a:xfrm>
            <a:off x="-1" y="-5889102"/>
            <a:ext cx="11535507" cy="12717122"/>
          </a:xfrm>
          <a:prstGeom prst="rect">
            <a:avLst/>
          </a:prstGeom>
        </p:spPr>
      </p:pic>
    </p:spTree>
    <p:extLst>
      <p:ext uri="{BB962C8B-B14F-4D97-AF65-F5344CB8AC3E}">
        <p14:creationId xmlns:p14="http://schemas.microsoft.com/office/powerpoint/2010/main" val="2585534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Manage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2</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a:solidFill>
                  <a:schemeClr val="tx1"/>
                </a:solidFill>
                <a:latin typeface="Corbel" panose="020B0503020204020204" pitchFamily="34" charset="0"/>
                <a:cs typeface="TheSans" panose="020B0503040302020203" pitchFamily="34" charset="-78"/>
              </a:rPr>
              <a:t>Prevention and managing </a:t>
            </a:r>
            <a:r>
              <a:rPr lang="en-US" sz="2000" b="1" dirty="0" err="1">
                <a:solidFill>
                  <a:schemeClr val="tx1"/>
                </a:solidFill>
                <a:latin typeface="Corbel" panose="020B0503020204020204" pitchFamily="34" charset="0"/>
                <a:cs typeface="TheSans" panose="020B0503040302020203" pitchFamily="34" charset="-78"/>
              </a:rPr>
              <a:t>commplicatios</a:t>
            </a:r>
            <a:endParaRPr lang="en-US" sz="20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endParaRPr lang="en-US" sz="2000" b="1"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err="1">
                <a:solidFill>
                  <a:schemeClr val="tx1"/>
                </a:solidFill>
                <a:latin typeface="Corbel" panose="020B0503020204020204" pitchFamily="34" charset="0"/>
                <a:cs typeface="TheSans" panose="020B0503040302020203" pitchFamily="34" charset="-78"/>
              </a:rPr>
              <a:t>Macrovasular</a:t>
            </a:r>
            <a:r>
              <a:rPr lang="en-US" sz="2000" dirty="0">
                <a:solidFill>
                  <a:schemeClr val="tx1"/>
                </a:solidFill>
                <a:latin typeface="Corbel" panose="020B0503020204020204" pitchFamily="34" charset="0"/>
                <a:cs typeface="TheSans" panose="020B0503040302020203" pitchFamily="34" charset="-78"/>
              </a:rPr>
              <a:t> </a:t>
            </a:r>
          </a:p>
          <a:p>
            <a:pPr lvl="0" defTabSz="685800">
              <a:lnSpc>
                <a:spcPct val="90000"/>
              </a:lnSpc>
              <a:spcBef>
                <a:spcPts val="750"/>
              </a:spcBef>
            </a:pPr>
            <a:endParaRPr lang="en-US" sz="2000" dirty="0">
              <a:solidFill>
                <a:schemeClr val="tx1"/>
              </a:solidFill>
              <a:latin typeface="Corbel" panose="020B0503020204020204" pitchFamily="34" charset="0"/>
              <a:cs typeface="TheSans" panose="020B0503040302020203" pitchFamily="34" charset="-78"/>
            </a:endParaRPr>
          </a:p>
          <a:p>
            <a:pPr lvl="0" defTabSz="685800">
              <a:lnSpc>
                <a:spcPct val="90000"/>
              </a:lnSpc>
              <a:spcBef>
                <a:spcPts val="750"/>
              </a:spcBef>
            </a:pPr>
            <a:r>
              <a:rPr lang="en-US" sz="2000" dirty="0" err="1">
                <a:solidFill>
                  <a:schemeClr val="tx1"/>
                </a:solidFill>
                <a:latin typeface="Corbel" panose="020B0503020204020204" pitchFamily="34" charset="0"/>
                <a:cs typeface="TheSans" panose="020B0503040302020203" pitchFamily="34" charset="-78"/>
              </a:rPr>
              <a:t>Microvascular</a:t>
            </a:r>
            <a:r>
              <a:rPr lang="en-US" sz="2000" dirty="0">
                <a:solidFill>
                  <a:schemeClr val="tx1"/>
                </a:solidFill>
                <a:latin typeface="Corbel" panose="020B0503020204020204" pitchFamily="34" charset="0"/>
                <a:cs typeface="TheSans" panose="020B0503040302020203" pitchFamily="34" charset="-78"/>
              </a:rPr>
              <a:t> </a:t>
            </a:r>
            <a:endParaRPr lang="en-US" sz="2400"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10412588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stone building with a blue sky&#10;&#10;Description automatically generated">
            <a:extLst>
              <a:ext uri="{FF2B5EF4-FFF2-40B4-BE49-F238E27FC236}">
                <a16:creationId xmlns:a16="http://schemas.microsoft.com/office/drawing/2014/main" id="{9108245F-C523-7FEC-E7AB-EF61C8849A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925"/>
            <a:ext cx="12254730" cy="6823075"/>
          </a:xfrm>
          <a:prstGeom prst="rect">
            <a:avLst/>
          </a:prstGeom>
        </p:spPr>
      </p:pic>
      <p:sp>
        <p:nvSpPr>
          <p:cNvPr id="47" name="Freeform: Shape 46">
            <a:extLst>
              <a:ext uri="{FF2B5EF4-FFF2-40B4-BE49-F238E27FC236}">
                <a16:creationId xmlns:a16="http://schemas.microsoft.com/office/drawing/2014/main" id="{668C763E-D2E4-4EB8-95B4-6D72B23317FC}"/>
              </a:ext>
            </a:extLst>
          </p:cNvPr>
          <p:cNvSpPr/>
          <p:nvPr/>
        </p:nvSpPr>
        <p:spPr>
          <a:xfrm>
            <a:off x="0" y="0"/>
            <a:ext cx="5503985" cy="6065520"/>
          </a:xfrm>
          <a:custGeom>
            <a:avLst/>
            <a:gdLst>
              <a:gd name="connsiteX0" fmla="*/ 0 w 7526331"/>
              <a:gd name="connsiteY0" fmla="*/ 0 h 5727322"/>
              <a:gd name="connsiteX1" fmla="*/ 7522287 w 7526331"/>
              <a:gd name="connsiteY1" fmla="*/ 0 h 5727322"/>
              <a:gd name="connsiteX2" fmla="*/ 7526331 w 7526331"/>
              <a:gd name="connsiteY2" fmla="*/ 117692 h 5727322"/>
              <a:gd name="connsiteX3" fmla="*/ 7526331 w 7526331"/>
              <a:gd name="connsiteY3" fmla="*/ 3773338 h 5727322"/>
              <a:gd name="connsiteX4" fmla="*/ 5754635 w 7526331"/>
              <a:gd name="connsiteY4" fmla="*/ 5727322 h 5727322"/>
              <a:gd name="connsiteX5" fmla="*/ 0 w 7526331"/>
              <a:gd name="connsiteY5" fmla="*/ 5727322 h 5727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6331" h="5727322">
                <a:moveTo>
                  <a:pt x="0" y="0"/>
                </a:moveTo>
                <a:lnTo>
                  <a:pt x="7522287" y="0"/>
                </a:lnTo>
                <a:lnTo>
                  <a:pt x="7526331" y="117692"/>
                </a:lnTo>
                <a:lnTo>
                  <a:pt x="7526331" y="3773338"/>
                </a:lnTo>
                <a:cubicBezTo>
                  <a:pt x="7526331" y="4852494"/>
                  <a:pt x="6733116" y="5727322"/>
                  <a:pt x="5754635" y="5727322"/>
                </a:cubicBezTo>
                <a:lnTo>
                  <a:pt x="0" y="5727322"/>
                </a:lnTo>
                <a:close/>
              </a:path>
            </a:pathLst>
          </a:custGeom>
          <a:gradFill flip="none" rotWithShape="1">
            <a:gsLst>
              <a:gs pos="70000">
                <a:srgbClr val="2B9ED2">
                  <a:alpha val="87000"/>
                </a:srgbClr>
              </a:gs>
              <a:gs pos="0">
                <a:srgbClr val="31C9A2">
                  <a:alpha val="96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04A0B84B-47BB-CCDC-55A0-329EA44CEE37}"/>
              </a:ext>
            </a:extLst>
          </p:cNvPr>
          <p:cNvPicPr>
            <a:picLocks noChangeAspect="1"/>
          </p:cNvPicPr>
          <p:nvPr/>
        </p:nvPicPr>
        <p:blipFill rotWithShape="1">
          <a:blip r:embed="rId4"/>
          <a:srcRect b="14359"/>
          <a:stretch/>
        </p:blipFill>
        <p:spPr>
          <a:xfrm>
            <a:off x="1121565" y="1130678"/>
            <a:ext cx="2641600" cy="2577722"/>
          </a:xfrm>
          <a:prstGeom prst="rect">
            <a:avLst/>
          </a:prstGeom>
        </p:spPr>
      </p:pic>
      <p:sp>
        <p:nvSpPr>
          <p:cNvPr id="5" name="TextBox 4">
            <a:extLst>
              <a:ext uri="{FF2B5EF4-FFF2-40B4-BE49-F238E27FC236}">
                <a16:creationId xmlns:a16="http://schemas.microsoft.com/office/drawing/2014/main" id="{230036AE-74C9-1EC2-C2B2-A67ACA9E273C}"/>
              </a:ext>
            </a:extLst>
          </p:cNvPr>
          <p:cNvSpPr txBox="1"/>
          <p:nvPr/>
        </p:nvSpPr>
        <p:spPr>
          <a:xfrm>
            <a:off x="4650020" y="-257972"/>
            <a:ext cx="458311" cy="4078039"/>
          </a:xfrm>
          <a:prstGeom prst="rect">
            <a:avLst/>
          </a:prstGeom>
          <a:noFill/>
        </p:spPr>
        <p:txBody>
          <a:bodyPr wrap="square" rtlCol="0">
            <a:spAutoFit/>
          </a:bodyPr>
          <a:lstStyle/>
          <a:p>
            <a:pPr algn="ctr" rtl="1"/>
            <a:r>
              <a:rPr lang="en-US" sz="25900" dirty="0">
                <a:solidFill>
                  <a:schemeClr val="bg1">
                    <a:lumMod val="95000"/>
                  </a:schemeClr>
                </a:solidFill>
                <a:latin typeface="Raleway SemiBold" panose="020B0703030101060003" pitchFamily="34" charset="0"/>
                <a:cs typeface="Poppins SemiBold" panose="00000700000000000000" pitchFamily="2" charset="0"/>
              </a:rPr>
              <a:t>“</a:t>
            </a:r>
          </a:p>
        </p:txBody>
      </p:sp>
      <p:pic>
        <p:nvPicPr>
          <p:cNvPr id="2" name="Picture 1">
            <a:extLst>
              <a:ext uri="{FF2B5EF4-FFF2-40B4-BE49-F238E27FC236}">
                <a16:creationId xmlns:a16="http://schemas.microsoft.com/office/drawing/2014/main" id="{C1FDF151-3D12-295E-EDFD-5E07D0EB0B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3481" y="247650"/>
            <a:ext cx="1257300" cy="762000"/>
          </a:xfrm>
          <a:prstGeom prst="rect">
            <a:avLst/>
          </a:prstGeom>
        </p:spPr>
      </p:pic>
      <p:sp>
        <p:nvSpPr>
          <p:cNvPr id="23" name="TextBox 22">
            <a:extLst>
              <a:ext uri="{FF2B5EF4-FFF2-40B4-BE49-F238E27FC236}">
                <a16:creationId xmlns:a16="http://schemas.microsoft.com/office/drawing/2014/main" id="{FD8B3B9F-A944-5FD0-28C5-FD47357F1B76}"/>
              </a:ext>
            </a:extLst>
          </p:cNvPr>
          <p:cNvSpPr txBox="1"/>
          <p:nvPr/>
        </p:nvSpPr>
        <p:spPr>
          <a:xfrm>
            <a:off x="1016000" y="3966372"/>
            <a:ext cx="2527032" cy="584775"/>
          </a:xfrm>
          <a:prstGeom prst="rect">
            <a:avLst/>
          </a:prstGeom>
          <a:noFill/>
        </p:spPr>
        <p:txBody>
          <a:bodyPr wrap="square" rtlCol="0">
            <a:spAutoFit/>
          </a:bodyPr>
          <a:lstStyle/>
          <a:p>
            <a:r>
              <a:rPr lang="x-none" sz="3200" b="1" dirty="0">
                <a:solidFill>
                  <a:schemeClr val="bg1"/>
                </a:solidFill>
                <a:latin typeface="Avenir Black" panose="02000503020000020003" pitchFamily="2" charset="0"/>
              </a:rPr>
              <a:t>920011909</a:t>
            </a:r>
          </a:p>
        </p:txBody>
      </p:sp>
    </p:spTree>
    <p:extLst>
      <p:ext uri="{BB962C8B-B14F-4D97-AF65-F5344CB8AC3E}">
        <p14:creationId xmlns:p14="http://schemas.microsoft.com/office/powerpoint/2010/main" val="2626409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Defini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800" b="1" dirty="0">
                <a:solidFill>
                  <a:schemeClr val="tx1"/>
                </a:solidFill>
                <a:latin typeface="Corbel" panose="020B0503020204020204" pitchFamily="34" charset="0"/>
                <a:cs typeface="TheSans" panose="020B0503040302020203" pitchFamily="34" charset="-78"/>
              </a:rPr>
              <a:t>Definition</a:t>
            </a:r>
          </a:p>
          <a:p>
            <a:pPr lvl="0" defTabSz="685800">
              <a:lnSpc>
                <a:spcPct val="90000"/>
              </a:lnSpc>
              <a:spcBef>
                <a:spcPts val="750"/>
              </a:spcBef>
            </a:pPr>
            <a:r>
              <a:rPr lang="en-US" sz="2800" dirty="0">
                <a:solidFill>
                  <a:schemeClr val="tx1"/>
                </a:solidFill>
                <a:latin typeface="Corbel" panose="020B0503020204020204" pitchFamily="34" charset="0"/>
                <a:cs typeface="TheSans" panose="020B0503040302020203" pitchFamily="34" charset="-78"/>
              </a:rPr>
              <a:t>Type 2 diabetes mellitus is a progressive disorder defined by deficits in insulin secretion and increased insulin resistance that lead to abnormal glucose metabolism and related metabolic derangements.[</a:t>
            </a:r>
            <a:endParaRPr lang="en-US" sz="2800" i="1"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2470169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Prevention in general practice</a:t>
            </a: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4000" dirty="0">
                <a:solidFill>
                  <a:schemeClr val="tx1"/>
                </a:solidFill>
                <a:latin typeface="Corbel" panose="020B0503020204020204" pitchFamily="34" charset="0"/>
                <a:cs typeface="TheSans" panose="020B0503040302020203" pitchFamily="34" charset="-78"/>
              </a:rPr>
              <a:t>	</a:t>
            </a:r>
            <a:endParaRPr lang="en-US" sz="4000" i="1" dirty="0">
              <a:solidFill>
                <a:schemeClr val="tx1"/>
              </a:solidFill>
              <a:latin typeface="Corbel" panose="020B0503020204020204" pitchFamily="34" charset="0"/>
              <a:cs typeface="TheSans" panose="020B0503040302020203" pitchFamily="34" charset="-78"/>
            </a:endParaRPr>
          </a:p>
        </p:txBody>
      </p:sp>
      <p:pic>
        <p:nvPicPr>
          <p:cNvPr id="4" name="Picture 3"/>
          <p:cNvPicPr>
            <a:picLocks noChangeAspect="1"/>
          </p:cNvPicPr>
          <p:nvPr/>
        </p:nvPicPr>
        <p:blipFill>
          <a:blip r:embed="rId3"/>
          <a:stretch>
            <a:fillRect/>
          </a:stretch>
        </p:blipFill>
        <p:spPr>
          <a:xfrm>
            <a:off x="1868072" y="1286207"/>
            <a:ext cx="7090807" cy="5535062"/>
          </a:xfrm>
          <a:prstGeom prst="rect">
            <a:avLst/>
          </a:prstGeom>
          <a:solidFill>
            <a:schemeClr val="bg1"/>
          </a:solidFill>
        </p:spPr>
      </p:pic>
    </p:spTree>
    <p:extLst>
      <p:ext uri="{BB962C8B-B14F-4D97-AF65-F5344CB8AC3E}">
        <p14:creationId xmlns:p14="http://schemas.microsoft.com/office/powerpoint/2010/main" val="3546875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From the past</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800" b="1" dirty="0">
                <a:solidFill>
                  <a:schemeClr val="tx1"/>
                </a:solidFill>
                <a:latin typeface="Corbel" panose="020B0503020204020204" pitchFamily="34" charset="0"/>
                <a:cs typeface="TheSans" panose="020B0503040302020203" pitchFamily="34" charset="-78"/>
              </a:rPr>
              <a:t>Those </a:t>
            </a:r>
            <a:r>
              <a:rPr lang="en-US" sz="2800" b="1" dirty="0" err="1">
                <a:solidFill>
                  <a:schemeClr val="tx1"/>
                </a:solidFill>
                <a:latin typeface="Corbel" panose="020B0503020204020204" pitchFamily="34" charset="0"/>
                <a:cs typeface="TheSans" panose="020B0503040302020203" pitchFamily="34" charset="-78"/>
              </a:rPr>
              <a:t>labouring</a:t>
            </a:r>
            <a:r>
              <a:rPr lang="en-US" sz="2800" b="1" dirty="0">
                <a:solidFill>
                  <a:schemeClr val="tx1"/>
                </a:solidFill>
                <a:latin typeface="Corbel" panose="020B0503020204020204" pitchFamily="34" charset="0"/>
                <a:cs typeface="TheSans" panose="020B0503040302020203" pitchFamily="34" charset="-78"/>
              </a:rPr>
              <a:t> with this Disease, piss a great deal more than they drink. Authors who affirm the drink to be little or nothing changed are very far from the truth, because the urine very much differed both from the drink taken in and also in being wonderfully sweet as if it were imbued with honey or sugar.</a:t>
            </a:r>
          </a:p>
          <a:p>
            <a:pPr lvl="0" algn="r" defTabSz="685800">
              <a:lnSpc>
                <a:spcPct val="90000"/>
              </a:lnSpc>
              <a:spcBef>
                <a:spcPts val="750"/>
              </a:spcBef>
            </a:pPr>
            <a:r>
              <a:rPr lang="en-US" sz="2400" dirty="0">
                <a:solidFill>
                  <a:schemeClr val="tx1"/>
                </a:solidFill>
                <a:latin typeface="Corbel" panose="020B0503020204020204" pitchFamily="34" charset="0"/>
                <a:cs typeface="TheSans" panose="020B0503040302020203" pitchFamily="34" charset="-78"/>
              </a:rPr>
              <a:t>THOMAS WILLIS (1621–1675), THE PISSING EVIL</a:t>
            </a:r>
          </a:p>
        </p:txBody>
      </p:sp>
    </p:spTree>
    <p:extLst>
      <p:ext uri="{BB962C8B-B14F-4D97-AF65-F5344CB8AC3E}">
        <p14:creationId xmlns:p14="http://schemas.microsoft.com/office/powerpoint/2010/main" val="410053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Epidemiolog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Diabetes prevalence is increasing worldwide, compounded by population growth and an ageing population. In 1980, the global age-</a:t>
            </a:r>
            <a:r>
              <a:rPr lang="en-US" sz="2000" dirty="0" err="1">
                <a:solidFill>
                  <a:schemeClr val="tx1"/>
                </a:solidFill>
                <a:latin typeface="Calibri Light" panose="020F0302020204030204" pitchFamily="34" charset="0"/>
                <a:cs typeface="TheSans" panose="020B0503040302020203" pitchFamily="34" charset="-78"/>
              </a:rPr>
              <a:t>standardised</a:t>
            </a:r>
            <a:r>
              <a:rPr lang="en-US" sz="2000" dirty="0">
                <a:solidFill>
                  <a:schemeClr val="tx1"/>
                </a:solidFill>
                <a:latin typeface="Calibri Light" panose="020F0302020204030204" pitchFamily="34" charset="0"/>
                <a:cs typeface="TheSans" panose="020B0503040302020203" pitchFamily="34" charset="-78"/>
              </a:rPr>
              <a:t> diabetes prevalence was 4.3%. In 2019, diabetes prevalence was estimated at 8.3%. Most cases of diabetes (around 90%) are type 2. </a:t>
            </a:r>
          </a:p>
          <a:p>
            <a:pPr lvl="0" defTabSz="685800">
              <a:lnSpc>
                <a:spcPct val="90000"/>
              </a:lnSpc>
              <a:spcBef>
                <a:spcPts val="750"/>
              </a:spcBef>
            </a:pPr>
            <a:endParaRPr lang="en-US" sz="20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In some countries, there is downward trend due to public health education and preventive strategies. </a:t>
            </a:r>
          </a:p>
          <a:p>
            <a:pPr lvl="0" defTabSz="685800">
              <a:lnSpc>
                <a:spcPct val="90000"/>
              </a:lnSpc>
              <a:spcBef>
                <a:spcPts val="750"/>
              </a:spcBef>
            </a:pPr>
            <a:endParaRPr lang="en-US" sz="20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Patients with type 2 diabetes have a very high risk of concurrent hypertension (80% to 90%), lipid disorders (70% to 80%), and overweight or obesity (60% to 70%). </a:t>
            </a:r>
          </a:p>
          <a:p>
            <a:pPr lvl="0" defTabSz="685800">
              <a:lnSpc>
                <a:spcPct val="90000"/>
              </a:lnSpc>
              <a:spcBef>
                <a:spcPts val="750"/>
              </a:spcBef>
            </a:pPr>
            <a:endParaRPr lang="en-US" sz="20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When diabetes is diagnosed at age 40 years, men lose an average of 5.8 years of life, and women lose an average of 6.8 years of life, highlighting the importance of primary prevention of diabetes. </a:t>
            </a:r>
          </a:p>
          <a:p>
            <a:pPr lvl="0" defTabSz="685800">
              <a:lnSpc>
                <a:spcPct val="90000"/>
              </a:lnSpc>
              <a:spcBef>
                <a:spcPts val="750"/>
              </a:spcBef>
            </a:pPr>
            <a:endParaRPr lang="en-US" sz="2000"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Onset of diabetes at older ages has much less effect on life expectancy if acceptable glucose, blood pressure, and lipid control can be achieved and maintained.</a:t>
            </a:r>
            <a:endParaRPr lang="en-US" sz="2000" i="1" dirty="0">
              <a:solidFill>
                <a:schemeClr val="tx1"/>
              </a:solidFill>
              <a:latin typeface="Calibri Light" panose="020F0302020204030204" pitchFamily="34" charset="0"/>
              <a:cs typeface="TheSans" panose="020B0503040302020203" pitchFamily="34" charset="-78"/>
            </a:endParaRPr>
          </a:p>
        </p:txBody>
      </p:sp>
    </p:spTree>
    <p:extLst>
      <p:ext uri="{BB962C8B-B14F-4D97-AF65-F5344CB8AC3E}">
        <p14:creationId xmlns:p14="http://schemas.microsoft.com/office/powerpoint/2010/main" val="174513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Risk Factors</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Older age</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Older patients are at increased risk. However, the incidence of type 2 diabetes in children and adolescents is increasing.</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Overweight/obesity</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Appears to be the precipitating factor leading to clinical expression of diabetes.[11] The mean body mass index (BMI) at the time of diagnosis of diabetes in several studies is around 31 kg/m², and there is a graded increase in risk of diabetes with increasing BMI. </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Gestational diabetes</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About 50% of women who have gestational diabetes mellitus will go on to develop overt diabetes mellitus within 10 years of delivery.</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Non-diabetic </a:t>
            </a:r>
            <a:r>
              <a:rPr lang="en-US" sz="2000" b="1" dirty="0" err="1">
                <a:solidFill>
                  <a:schemeClr val="tx1"/>
                </a:solidFill>
                <a:latin typeface="Calibri Light" panose="020F0302020204030204" pitchFamily="34" charset="0"/>
                <a:cs typeface="TheSans" panose="020B0503040302020203" pitchFamily="34" charset="-78"/>
              </a:rPr>
              <a:t>hyperglycaemia</a:t>
            </a:r>
            <a:endParaRPr lang="en-US" sz="20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Non-diabetic </a:t>
            </a:r>
            <a:r>
              <a:rPr lang="en-US" sz="2000" dirty="0" err="1">
                <a:solidFill>
                  <a:schemeClr val="tx1"/>
                </a:solidFill>
                <a:latin typeface="Calibri Light" panose="020F0302020204030204" pitchFamily="34" charset="0"/>
                <a:cs typeface="TheSans" panose="020B0503040302020203" pitchFamily="34" charset="-78"/>
              </a:rPr>
              <a:t>hyperglycaemia</a:t>
            </a:r>
            <a:r>
              <a:rPr lang="en-US" sz="2000" dirty="0">
                <a:solidFill>
                  <a:schemeClr val="tx1"/>
                </a:solidFill>
                <a:latin typeface="Calibri Light" panose="020F0302020204030204" pitchFamily="34" charset="0"/>
                <a:cs typeface="TheSans" panose="020B0503040302020203" pitchFamily="34" charset="-78"/>
              </a:rPr>
              <a:t> (sometimes termed pre-diabetes) is major risk factor for onset of type 2 diabetes.</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Family history of type 2 diabetes</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Although the specific genetic profile that confers risk has yet to be fully elucidated, epidemiological observations leave little doubt of a substantial genetic component.</a:t>
            </a:r>
          </a:p>
        </p:txBody>
      </p:sp>
    </p:spTree>
    <p:extLst>
      <p:ext uri="{BB962C8B-B14F-4D97-AF65-F5344CB8AC3E}">
        <p14:creationId xmlns:p14="http://schemas.microsoft.com/office/powerpoint/2010/main" val="156739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Risk factors</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Non-white ethnicity </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Prevalence of diabetes varies by ethnic group. In the UK, type 2 diabetes is more common in people of African, African-Caribbean, and South Asian family origin due to an interplay of diet, lifestyle, and genetic factors. </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Polycystic ovary syndrome</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Elevated risk; should be periodically screened for diabetes.</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Hypertension</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Often associated with type 2 diabetes. Periodic screening is recommended in people with essential hypertension due to increased prevalence of diabetes.</a:t>
            </a:r>
          </a:p>
          <a:p>
            <a:pPr lvl="0" defTabSz="685800">
              <a:lnSpc>
                <a:spcPct val="90000"/>
              </a:lnSpc>
              <a:spcBef>
                <a:spcPts val="750"/>
              </a:spcBef>
            </a:pPr>
            <a:r>
              <a:rPr lang="en-US" sz="2000" b="1" dirty="0" err="1">
                <a:solidFill>
                  <a:schemeClr val="tx1"/>
                </a:solidFill>
                <a:latin typeface="Calibri Light" panose="020F0302020204030204" pitchFamily="34" charset="0"/>
                <a:cs typeface="TheSans" panose="020B0503040302020203" pitchFamily="34" charset="-78"/>
              </a:rPr>
              <a:t>Dyslipidaemia</a:t>
            </a:r>
            <a:endParaRPr lang="en-US" sz="2000" b="1" dirty="0">
              <a:solidFill>
                <a:schemeClr val="tx1"/>
              </a:solidFill>
              <a:latin typeface="Calibri Light" panose="020F0302020204030204" pitchFamily="34" charset="0"/>
              <a:cs typeface="TheSans" panose="020B0503040302020203" pitchFamily="34" charset="-78"/>
            </a:endParaRP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Especially with low high-density lipoprotein (HDL) and/or high triglycerides: periodic diabetes screening is recommended due to the high prevalence of diabetes in patients with </a:t>
            </a:r>
            <a:r>
              <a:rPr lang="en-US" sz="2000" dirty="0" err="1">
                <a:solidFill>
                  <a:schemeClr val="tx1"/>
                </a:solidFill>
                <a:latin typeface="Calibri Light" panose="020F0302020204030204" pitchFamily="34" charset="0"/>
                <a:cs typeface="TheSans" panose="020B0503040302020203" pitchFamily="34" charset="-78"/>
              </a:rPr>
              <a:t>dyslipidaemia</a:t>
            </a:r>
            <a:r>
              <a:rPr lang="en-US" sz="2000" dirty="0">
                <a:solidFill>
                  <a:schemeClr val="tx1"/>
                </a:solidFill>
                <a:latin typeface="Calibri Light" panose="020F0302020204030204" pitchFamily="34" charset="0"/>
                <a:cs typeface="TheSans" panose="020B0503040302020203" pitchFamily="34" charset="-78"/>
              </a:rPr>
              <a:t>.</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Cardiovascular disease</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High prevalence of diabetes in patients with peripheral vascular and coronary artery disease.</a:t>
            </a:r>
          </a:p>
          <a:p>
            <a:pPr lvl="0" defTabSz="685800">
              <a:lnSpc>
                <a:spcPct val="90000"/>
              </a:lnSpc>
              <a:spcBef>
                <a:spcPts val="750"/>
              </a:spcBef>
            </a:pPr>
            <a:r>
              <a:rPr lang="en-US" sz="2000" b="1" dirty="0">
                <a:solidFill>
                  <a:schemeClr val="tx1"/>
                </a:solidFill>
                <a:latin typeface="Calibri Light" panose="020F0302020204030204" pitchFamily="34" charset="0"/>
                <a:cs typeface="TheSans" panose="020B0503040302020203" pitchFamily="34" charset="-78"/>
              </a:rPr>
              <a:t>Stress</a:t>
            </a:r>
          </a:p>
          <a:p>
            <a:pPr lvl="0" defTabSz="685800">
              <a:lnSpc>
                <a:spcPct val="90000"/>
              </a:lnSpc>
              <a:spcBef>
                <a:spcPts val="750"/>
              </a:spcBef>
            </a:pPr>
            <a:r>
              <a:rPr lang="en-US" sz="2000" dirty="0">
                <a:solidFill>
                  <a:schemeClr val="tx1"/>
                </a:solidFill>
                <a:latin typeface="Calibri Light" panose="020F0302020204030204" pitchFamily="34" charset="0"/>
                <a:cs typeface="TheSans" panose="020B0503040302020203" pitchFamily="34" charset="-78"/>
              </a:rPr>
              <a:t>Stress provokes release of hormones that elevate glucose, and there is some evidence that life stress may predispose to onset of type 2 diabetes.[</a:t>
            </a:r>
          </a:p>
        </p:txBody>
      </p:sp>
    </p:spTree>
    <p:extLst>
      <p:ext uri="{BB962C8B-B14F-4D97-AF65-F5344CB8AC3E}">
        <p14:creationId xmlns:p14="http://schemas.microsoft.com/office/powerpoint/2010/main" val="1446595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Diagnostic test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9512794" y="3244333"/>
            <a:ext cx="4624151"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Diabetes Mellitus</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endParaRPr lang="en-US" sz="2800" i="1" dirty="0">
              <a:solidFill>
                <a:schemeClr val="tx1"/>
              </a:solidFill>
              <a:latin typeface="Corbel" panose="020B0503020204020204" pitchFamily="34" charset="0"/>
              <a:cs typeface="TheSans" panose="020B0503040302020203" pitchFamily="34" charset="-78"/>
            </a:endParaRPr>
          </a:p>
        </p:txBody>
      </p:sp>
      <p:graphicFrame>
        <p:nvGraphicFramePr>
          <p:cNvPr id="4" name="Table 3"/>
          <p:cNvGraphicFramePr>
            <a:graphicFrameLocks noGrp="1"/>
          </p:cNvGraphicFramePr>
          <p:nvPr>
            <p:extLst>
              <p:ext uri="{D42A27DB-BD31-4B8C-83A1-F6EECF244321}">
                <p14:modId xmlns:p14="http://schemas.microsoft.com/office/powerpoint/2010/main" val="3810769625"/>
              </p:ext>
            </p:extLst>
          </p:nvPr>
        </p:nvGraphicFramePr>
        <p:xfrm>
          <a:off x="-33658" y="1257300"/>
          <a:ext cx="11569165" cy="5575942"/>
        </p:xfrm>
        <a:graphic>
          <a:graphicData uri="http://schemas.openxmlformats.org/drawingml/2006/table">
            <a:tbl>
              <a:tblPr rtl="1" firstRow="1" bandRow="1">
                <a:tableStyleId>{5C22544A-7EE6-4342-B048-85BDC9FD1C3A}</a:tableStyleId>
              </a:tblPr>
              <a:tblGrid>
                <a:gridCol w="4601307">
                  <a:extLst>
                    <a:ext uri="{9D8B030D-6E8A-4147-A177-3AD203B41FA5}">
                      <a16:colId xmlns:a16="http://schemas.microsoft.com/office/drawing/2014/main" val="20000"/>
                    </a:ext>
                  </a:extLst>
                </a:gridCol>
                <a:gridCol w="6967858">
                  <a:extLst>
                    <a:ext uri="{9D8B030D-6E8A-4147-A177-3AD203B41FA5}">
                      <a16:colId xmlns:a16="http://schemas.microsoft.com/office/drawing/2014/main" val="20001"/>
                    </a:ext>
                  </a:extLst>
                </a:gridCol>
              </a:tblGrid>
              <a:tr h="546742">
                <a:tc>
                  <a:txBody>
                    <a:bodyPr/>
                    <a:lstStyle/>
                    <a:p>
                      <a:pPr rtl="1"/>
                      <a:r>
                        <a:rPr lang="en-US" sz="2000" dirty="0"/>
                        <a:t>Results </a:t>
                      </a:r>
                    </a:p>
                  </a:txBody>
                  <a:tcPr>
                    <a:solidFill>
                      <a:srgbClr val="03A5B8"/>
                    </a:solidFill>
                  </a:tcPr>
                </a:tc>
                <a:tc>
                  <a:txBody>
                    <a:bodyPr/>
                    <a:lstStyle/>
                    <a:p>
                      <a:pPr rtl="1"/>
                      <a:r>
                        <a:rPr lang="en-US" sz="1800" dirty="0"/>
                        <a:t>Test</a:t>
                      </a:r>
                      <a:r>
                        <a:rPr lang="en-US" sz="1800" baseline="0" dirty="0"/>
                        <a:t>s</a:t>
                      </a:r>
                      <a:endParaRPr lang="en-US" sz="1800" dirty="0"/>
                    </a:p>
                  </a:txBody>
                  <a:tcPr>
                    <a:solidFill>
                      <a:srgbClr val="03A5B8"/>
                    </a:solidFill>
                  </a:tcPr>
                </a:tc>
                <a:extLst>
                  <a:ext uri="{0D108BD9-81ED-4DB2-BD59-A6C34878D82A}">
                    <a16:rowId xmlns:a16="http://schemas.microsoft.com/office/drawing/2014/main" val="10000"/>
                  </a:ext>
                </a:extLst>
              </a:tr>
              <a:tr h="424530">
                <a:tc>
                  <a:txBody>
                    <a:bodyPr/>
                    <a:lstStyle/>
                    <a:p>
                      <a:pPr rtl="1"/>
                      <a:r>
                        <a:rPr lang="en-US" sz="2000" dirty="0"/>
                        <a:t>≥7.0 </a:t>
                      </a:r>
                      <a:r>
                        <a:rPr lang="en-US" sz="2000" dirty="0" err="1"/>
                        <a:t>mmol</a:t>
                      </a:r>
                      <a:r>
                        <a:rPr lang="en-US" sz="2000" dirty="0"/>
                        <a:t>/L (≥126 mg/</a:t>
                      </a:r>
                      <a:r>
                        <a:rPr lang="en-US" sz="2000" dirty="0" err="1"/>
                        <a:t>dL</a:t>
                      </a:r>
                      <a:r>
                        <a:rPr lang="en-US" sz="2000" dirty="0"/>
                        <a:t>)</a:t>
                      </a:r>
                    </a:p>
                  </a:txBody>
                  <a:tcPr>
                    <a:solidFill>
                      <a:srgbClr val="BEF8FE"/>
                    </a:solidFill>
                  </a:tcPr>
                </a:tc>
                <a:tc>
                  <a:txBody>
                    <a:bodyPr/>
                    <a:lstStyle/>
                    <a:p>
                      <a:pPr rtl="1"/>
                      <a:r>
                        <a:rPr lang="en-US" sz="1800" b="1" dirty="0"/>
                        <a:t>Fasting plasma glucose</a:t>
                      </a:r>
                    </a:p>
                    <a:p>
                      <a:pPr rtl="1"/>
                      <a:r>
                        <a:rPr lang="en-US" sz="1800" dirty="0"/>
                        <a:t>• Order after a minimum 8-hour fast. Bear in mind that a repeat</a:t>
                      </a:r>
                    </a:p>
                    <a:p>
                      <a:pPr rtl="1"/>
                      <a:r>
                        <a:rPr lang="en-US" sz="1800" dirty="0"/>
                        <a:t>confirmatory test is required for diagnosis in most cases.</a:t>
                      </a:r>
                    </a:p>
                  </a:txBody>
                  <a:tcPr>
                    <a:solidFill>
                      <a:srgbClr val="BEF8FE"/>
                    </a:solidFill>
                  </a:tcPr>
                </a:tc>
                <a:extLst>
                  <a:ext uri="{0D108BD9-81ED-4DB2-BD59-A6C34878D82A}">
                    <a16:rowId xmlns:a16="http://schemas.microsoft.com/office/drawing/2014/main" val="10001"/>
                  </a:ext>
                </a:extLst>
              </a:tr>
              <a:tr h="450259">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2000" dirty="0"/>
                        <a:t>≥6.5%</a:t>
                      </a:r>
                    </a:p>
                  </a:txBody>
                  <a:tcPr>
                    <a:solidFill>
                      <a:srgbClr val="7FF1FD"/>
                    </a:solidFill>
                  </a:tcPr>
                </a:tc>
                <a:tc>
                  <a:txBody>
                    <a:bodyPr/>
                    <a:lstStyle/>
                    <a:p>
                      <a:pPr rtl="1"/>
                      <a:r>
                        <a:rPr lang="en-US" sz="1800" b="1" dirty="0"/>
                        <a:t>HbA1c</a:t>
                      </a:r>
                    </a:p>
                    <a:p>
                      <a:pPr rtl="1"/>
                      <a:r>
                        <a:rPr lang="en-US" sz="1800" dirty="0"/>
                        <a:t>• Reflects degree of </a:t>
                      </a:r>
                      <a:r>
                        <a:rPr lang="en-US" sz="1800" dirty="0" err="1"/>
                        <a:t>hyperglycaemia</a:t>
                      </a:r>
                      <a:r>
                        <a:rPr lang="en-US" sz="1800" dirty="0"/>
                        <a:t> over the preceding 3 months.</a:t>
                      </a:r>
                    </a:p>
                    <a:p>
                      <a:pPr rtl="1"/>
                      <a:r>
                        <a:rPr lang="en-US" sz="1800" dirty="0"/>
                        <a:t>• Bear in mind that a repeat confirmatory test is required for diagnosis</a:t>
                      </a:r>
                    </a:p>
                    <a:p>
                      <a:pPr rtl="1"/>
                      <a:r>
                        <a:rPr lang="en-US" sz="1800" dirty="0"/>
                        <a:t>in most cases.</a:t>
                      </a:r>
                    </a:p>
                    <a:p>
                      <a:pPr rtl="1"/>
                      <a:r>
                        <a:rPr lang="en-US" sz="1800" dirty="0"/>
                        <a:t>• HbA1c is also used to monitor </a:t>
                      </a:r>
                      <a:r>
                        <a:rPr lang="en-US" sz="1800" dirty="0" err="1"/>
                        <a:t>glycaemic</a:t>
                      </a:r>
                      <a:r>
                        <a:rPr lang="en-US" sz="1800" dirty="0"/>
                        <a:t> control.</a:t>
                      </a:r>
                    </a:p>
                  </a:txBody>
                  <a:tcPr>
                    <a:solidFill>
                      <a:srgbClr val="7FF1FD"/>
                    </a:solidFill>
                  </a:tcPr>
                </a:tc>
                <a:extLst>
                  <a:ext uri="{0D108BD9-81ED-4DB2-BD59-A6C34878D82A}">
                    <a16:rowId xmlns:a16="http://schemas.microsoft.com/office/drawing/2014/main" val="10002"/>
                  </a:ext>
                </a:extLst>
              </a:tr>
              <a:tr h="495285">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2000" dirty="0"/>
                        <a:t>≥11.1 mmol/L (≥200 mg/dL)</a:t>
                      </a:r>
                    </a:p>
                  </a:txBody>
                  <a:tcPr>
                    <a:solidFill>
                      <a:srgbClr val="BEF8FE"/>
                    </a:solidFill>
                  </a:tcPr>
                </a:tc>
                <a:tc>
                  <a:txBody>
                    <a:bodyPr/>
                    <a:lstStyle/>
                    <a:p>
                      <a:pPr rtl="1"/>
                      <a:r>
                        <a:rPr lang="en-US" sz="1800" b="1" dirty="0"/>
                        <a:t>2-hour post-load glucose after 75 g oral glucose</a:t>
                      </a:r>
                    </a:p>
                    <a:p>
                      <a:pPr rtl="1"/>
                      <a:r>
                        <a:rPr lang="en-US" sz="1800" dirty="0"/>
                        <a:t>• Plasma glucose is measured 2 hours after 75 g oral glucose load.</a:t>
                      </a:r>
                    </a:p>
                    <a:p>
                      <a:pPr rtl="1"/>
                      <a:r>
                        <a:rPr lang="en-US" sz="1800" dirty="0"/>
                        <a:t>• Bear in mind that a repeat confirmatory test is required for diagnosis</a:t>
                      </a:r>
                    </a:p>
                    <a:p>
                      <a:pPr rtl="1"/>
                      <a:r>
                        <a:rPr lang="en-US" sz="1800" dirty="0"/>
                        <a:t>in most cases.</a:t>
                      </a:r>
                    </a:p>
                  </a:txBody>
                  <a:tcPr>
                    <a:solidFill>
                      <a:srgbClr val="BEF8FE"/>
                    </a:solidFill>
                  </a:tcPr>
                </a:tc>
                <a:extLst>
                  <a:ext uri="{0D108BD9-81ED-4DB2-BD59-A6C34878D82A}">
                    <a16:rowId xmlns:a16="http://schemas.microsoft.com/office/drawing/2014/main" val="10003"/>
                  </a:ext>
                </a:extLst>
              </a:tr>
              <a:tr h="707550">
                <a:tc>
                  <a:txBody>
                    <a:bodyPr/>
                    <a:lstStyle/>
                    <a:p>
                      <a:pPr marL="0" marR="0" indent="0" algn="l" defTabSz="914400" rtl="1" eaLnBrk="1" fontAlgn="auto" latinLnBrk="0" hangingPunct="1">
                        <a:lnSpc>
                          <a:spcPct val="100000"/>
                        </a:lnSpc>
                        <a:spcBef>
                          <a:spcPts val="0"/>
                        </a:spcBef>
                        <a:spcAft>
                          <a:spcPts val="0"/>
                        </a:spcAft>
                        <a:buClrTx/>
                        <a:buSzTx/>
                        <a:buFontTx/>
                        <a:buNone/>
                        <a:tabLst/>
                        <a:defRPr/>
                      </a:pPr>
                      <a:r>
                        <a:rPr lang="en-US" sz="2000" dirty="0"/>
                        <a:t>≥11.1 </a:t>
                      </a:r>
                      <a:r>
                        <a:rPr lang="en-US" sz="2000" dirty="0" err="1"/>
                        <a:t>mmol</a:t>
                      </a:r>
                      <a:r>
                        <a:rPr lang="en-US" sz="2000" dirty="0"/>
                        <a:t>/L (≥200 mg/</a:t>
                      </a:r>
                      <a:r>
                        <a:rPr lang="en-US" sz="2000" dirty="0" err="1"/>
                        <a:t>dL</a:t>
                      </a:r>
                      <a:r>
                        <a:rPr lang="en-US" sz="2000" dirty="0"/>
                        <a:t>)</a:t>
                      </a:r>
                    </a:p>
                  </a:txBody>
                  <a:tcPr>
                    <a:solidFill>
                      <a:srgbClr val="7FF1FD"/>
                    </a:solidFill>
                  </a:tcPr>
                </a:tc>
                <a:tc>
                  <a:txBody>
                    <a:bodyPr/>
                    <a:lstStyle/>
                    <a:p>
                      <a:pPr rtl="1"/>
                      <a:r>
                        <a:rPr lang="en-US" sz="1800" b="1" dirty="0"/>
                        <a:t>Random plasma glucose</a:t>
                      </a:r>
                    </a:p>
                    <a:p>
                      <a:pPr rtl="1"/>
                      <a:r>
                        <a:rPr lang="en-US" sz="1800" dirty="0"/>
                        <a:t>• Non-fasting test. Bear in mind that a repeat confirmatory test is</a:t>
                      </a:r>
                    </a:p>
                    <a:p>
                      <a:pPr rtl="1"/>
                      <a:r>
                        <a:rPr lang="en-US" sz="1800" dirty="0"/>
                        <a:t>required for diagnosis in most cases.</a:t>
                      </a:r>
                    </a:p>
                    <a:p>
                      <a:pPr rtl="1"/>
                      <a:r>
                        <a:rPr lang="en-US" sz="1800" dirty="0"/>
                        <a:t>• Used for rapid assessment of glucose status if symptoms such as</a:t>
                      </a:r>
                    </a:p>
                    <a:p>
                      <a:pPr rtl="1"/>
                      <a:r>
                        <a:rPr lang="en-US" sz="1800" dirty="0"/>
                        <a:t>polyuria, polydipsia, or weight loss are present.</a:t>
                      </a:r>
                    </a:p>
                  </a:txBody>
                  <a:tcPr>
                    <a:solidFill>
                      <a:srgbClr val="7FF1FD"/>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30376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8iHTo7aPUiiY4A0xxPi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wO0.3sNbUm.w3ASfApH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H (EN)">
  <a:themeElements>
    <a:clrScheme name="MoH1">
      <a:dk1>
        <a:srgbClr val="2A2A2C"/>
      </a:dk1>
      <a:lt1>
        <a:sysClr val="window" lastClr="FFFFFF"/>
      </a:lt1>
      <a:dk2>
        <a:srgbClr val="171616"/>
      </a:dk2>
      <a:lt2>
        <a:srgbClr val="E7E6E6"/>
      </a:lt2>
      <a:accent1>
        <a:srgbClr val="008755"/>
      </a:accent1>
      <a:accent2>
        <a:srgbClr val="66B799"/>
      </a:accent2>
      <a:accent3>
        <a:srgbClr val="C3BF9F"/>
      </a:accent3>
      <a:accent4>
        <a:srgbClr val="FFC000"/>
      </a:accent4>
      <a:accent5>
        <a:srgbClr val="C00000"/>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HC-TBC Weekly Report Template_210801_v03" id="{7D31A2EA-9C13-4959-92B0-05946732E8D1}" vid="{3BCCAECB-7B89-446D-8AAC-AC2E289697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92</TotalTime>
  <Words>2619</Words>
  <Application>Microsoft Macintosh PowerPoint</Application>
  <PresentationFormat>Widescreen</PresentationFormat>
  <Paragraphs>274</Paragraphs>
  <Slides>23</Slides>
  <Notes>2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6" baseType="lpstr">
      <vt:lpstr>Arial</vt:lpstr>
      <vt:lpstr>Avenir Black</vt:lpstr>
      <vt:lpstr>Calibri</vt:lpstr>
      <vt:lpstr>Calibri Light</vt:lpstr>
      <vt:lpstr>Corbel</vt:lpstr>
      <vt:lpstr>DIN Next LT Arabic Light</vt:lpstr>
      <vt:lpstr>DIN Next LT Arabic Medium</vt:lpstr>
      <vt:lpstr>GE SS Unique</vt:lpstr>
      <vt:lpstr>Poppins SemiBold</vt:lpstr>
      <vt:lpstr>Raleway SemiBold</vt:lpstr>
      <vt:lpstr>Office Theme</vt:lpstr>
      <vt:lpstr>MoH (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va Aryanto</dc:creator>
  <cp:lastModifiedBy>FAISAL ALKHARJI</cp:lastModifiedBy>
  <cp:revision>836</cp:revision>
  <dcterms:created xsi:type="dcterms:W3CDTF">2021-12-02T07:20:22Z</dcterms:created>
  <dcterms:modified xsi:type="dcterms:W3CDTF">2025-03-17T08:11:05Z</dcterms:modified>
</cp:coreProperties>
</file>